
<file path=[Content_Types].xml><?xml version="1.0" encoding="utf-8"?>
<Types xmlns="http://schemas.openxmlformats.org/package/2006/content-types">
  <Default Extension="rels" ContentType="application/vnd.openxmlformats-package.relationships+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mf" ContentType="image/x-wmf"/>
  <Override PartName="/docProps/app.xml" ContentType="application/vnd.openxmlformats-officedocument.extended-properties+xml"/>
  <Override PartName="/docProps/core.xml" ContentType="application/vnd.openxmlformats-package.core-propertie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/Relationships>
</file>

<file path=ppt/presentation.xml><?xml version="1.0" encoding="utf-8"?>
<!--Generated by Aspose.Slides for .NET 16.11.0.0-->
<p:presentation xmlns:r="http://schemas.openxmlformats.org/officeDocument/2006/relationships" xmlns:a="http://schemas.openxmlformats.org/drawingml/2006/main" xmlns:p="http://schemas.openxmlformats.org/presentationml/2006/main" saveSubsetFonts="1">
  <p:sldMasterIdLst>
    <p:sldMasterId id="2147483648" r:id="rId1"/>
    <p:sldMasterId id="2147483818" r:id="rId2"/>
  </p:sldMasterIdLst>
  <p:notesMasterIdLst>
    <p:notesMasterId r:id="rId3"/>
  </p:notesMasterIdLst>
  <p:sldIdLst>
    <p:sldId id="292" r:id="rId4"/>
    <p:sldId id="264" r:id="rId5"/>
    <p:sldId id="266" r:id="rId6"/>
    <p:sldId id="267" r:id="rId7"/>
    <p:sldId id="269" r:id="rId8"/>
    <p:sldId id="270" r:id="rId9"/>
    <p:sldId id="304" r:id="rId10"/>
    <p:sldId id="271" r:id="rId11"/>
    <p:sldId id="272" r:id="rId12"/>
    <p:sldId id="273" r:id="rId13"/>
    <p:sldId id="274" r:id="rId14"/>
    <p:sldId id="290" r:id="rId15"/>
    <p:sldId id="306" r:id="rId16"/>
    <p:sldId id="319" r:id="rId17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0"/>
    <a:srgbClr val="009FC9"/>
    <a:srgbClr val="00B0F0"/>
    <a:srgbClr val="3881FF"/>
    <a:srgbClr val="AFCE09"/>
    <a:srgbClr val="B2B5B7"/>
    <a:srgbClr val="506278"/>
    <a:srgbClr val="929AA2"/>
    <a:srgbClr val="667486"/>
    <a:srgbClr val="37C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5" d="100"/>
          <a:sy n="105" d="100"/>
        </p:scale>
        <p:origin x="-756" y="-14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>
        <p:scale>
          <a:sx n="0" d="100"/>
          <a:sy n="0" d="100"/>
        </p:scale>
        <p:origin x="0" y="0"/>
      </p:cViewPr>
    </p:cSldViewPr>
  </p:notesViewPr>
  <p:gridSpacing cx="72008" cy="72008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 /><Relationship Id="rId10" Type="http://schemas.openxmlformats.org/officeDocument/2006/relationships/slide" Target="slides/slide7.xml" /><Relationship Id="rId11" Type="http://schemas.openxmlformats.org/officeDocument/2006/relationships/slide" Target="slides/slide8.xml" /><Relationship Id="rId12" Type="http://schemas.openxmlformats.org/officeDocument/2006/relationships/slide" Target="slides/slide9.xml" /><Relationship Id="rId13" Type="http://schemas.openxmlformats.org/officeDocument/2006/relationships/slide" Target="slides/slide10.xml" /><Relationship Id="rId14" Type="http://schemas.openxmlformats.org/officeDocument/2006/relationships/slide" Target="slides/slide11.xml" /><Relationship Id="rId15" Type="http://schemas.openxmlformats.org/officeDocument/2006/relationships/slide" Target="slides/slide12.xml" /><Relationship Id="rId16" Type="http://schemas.openxmlformats.org/officeDocument/2006/relationships/slide" Target="slides/slide13.xml" /><Relationship Id="rId17" Type="http://schemas.openxmlformats.org/officeDocument/2006/relationships/slide" Target="slides/slide14.xml" /><Relationship Id="rId18" Type="http://schemas.openxmlformats.org/officeDocument/2006/relationships/tags" Target="tags/tag5.xml" /><Relationship Id="rId19" Type="http://schemas.openxmlformats.org/officeDocument/2006/relationships/presProps" Target="presProps.xml" /><Relationship Id="rId2" Type="http://schemas.openxmlformats.org/officeDocument/2006/relationships/slideMaster" Target="slideMasters/slideMaster2.xml" /><Relationship Id="rId20" Type="http://schemas.openxmlformats.org/officeDocument/2006/relationships/viewProps" Target="viewProps.xml" /><Relationship Id="rId21" Type="http://schemas.openxmlformats.org/officeDocument/2006/relationships/theme" Target="theme/theme1.xml" /><Relationship Id="rId22" Type="http://schemas.openxmlformats.org/officeDocument/2006/relationships/tableStyles" Target="tableStyles.xml" /><Relationship Id="rId3" Type="http://schemas.openxmlformats.org/officeDocument/2006/relationships/notesMaster" Target="notesMasters/notesMaster1.xml" /><Relationship Id="rId4" Type="http://schemas.openxmlformats.org/officeDocument/2006/relationships/slide" Target="slides/slide1.xml" /><Relationship Id="rId5" Type="http://schemas.openxmlformats.org/officeDocument/2006/relationships/slide" Target="slides/slide2.xml" /><Relationship Id="rId6" Type="http://schemas.openxmlformats.org/officeDocument/2006/relationships/slide" Target="slides/slide3.xml" /><Relationship Id="rId7" Type="http://schemas.openxmlformats.org/officeDocument/2006/relationships/slide" Target="slides/slide4.xml" /><Relationship Id="rId8" Type="http://schemas.openxmlformats.org/officeDocument/2006/relationships/slide" Target="slides/slide5.xml" /><Relationship Id="rId9" Type="http://schemas.openxmlformats.org/officeDocument/2006/relationships/slide" Target="slides/slide6.xml" /></Relationships>
</file>

<file path=ppt/diagrams/colors1.xml><?xml version="1.0" encoding="utf-8"?>
<dgm:colorsDef xmlns:a="http://schemas.openxmlformats.org/drawingml/2006/main" xmlns:dgm="http://schemas.openxmlformats.org/drawingml/2006/diagram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a="http://schemas.openxmlformats.org/drawingml/2006/main" xmlns:r="http://schemas.openxmlformats.org/officeDocument/2006/relationships" xmlns:dgm="http://schemas.openxmlformats.org/drawingml/2006/diagram">
  <dgm:ptLst>
    <dgm:pt modelId="{3921C97C-497A-47D3-9EBF-4B81E3B68F1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DF3868D-D6AC-47F7-8505-1ACB5BEB03BC}" type="parTrans" cxnId="{0F8A1EA2-B68F-4080-BB30-95C2E2312012}">
      <dgm:prSet/>
      <dgm:spPr/>
      <dgm:t>
        <a:bodyPr/>
        <a:lstStyle/>
        <a:p>
          <a:endParaRPr lang="zh-CN" altLang="en-US"/>
        </a:p>
      </dgm:t>
    </dgm:pt>
    <dgm:pt modelId="{B8AD7E34-7F6F-4DAE-88D4-295DA0DE5CA1}">
      <dgm:prSet phldrT="[文本]"/>
      <dgm:spPr>
        <a:xfrm>
          <a:off x="2146401" y="716"/>
          <a:ext cx="981929" cy="490964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</dgm:spPr>
      <dgm:t>
        <a:bodyPr/>
        <a:lstStyle/>
        <a:p>
          <a:r>
            <a:rPr lang="zh-CN" altLang="en-US">
              <a:solidFill>
                <a:sysClr val="window" lastClr="FFFFFF"/>
              </a:solidFill>
              <a:latin typeface="Calibri"/>
              <a:ea typeface="宋体" charset="-122"/>
              <a:cs typeface="+mn-cs"/>
            </a:rPr>
            <a:t>总经理</a:t>
          </a:r>
        </a:p>
      </dgm:t>
    </dgm:pt>
    <dgm:pt modelId="{90BCB6FE-97CC-49CC-B49B-02698DF2D2DB}" type="parTrans" cxnId="{B9D31DC0-838A-4661-A2D5-66351B202EFB}">
      <dgm:prSet/>
      <dgm:spPr>
        <a:xfrm>
          <a:off x="855164" y="491680"/>
          <a:ext cx="1782202" cy="206205"/>
        </a:xfr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</dgm:spPr>
      <dgm:t>
        <a:bodyPr/>
        <a:lstStyle/>
        <a:p>
          <a:endParaRPr lang="zh-CN" altLang="en-US"/>
        </a:p>
      </dgm:t>
    </dgm:pt>
    <dgm:pt modelId="{26426BC1-C13A-4DA1-8111-B599076B9CE7}">
      <dgm:prSet phldrT="[文本]"/>
      <dgm:spPr>
        <a:xfrm>
          <a:off x="364199" y="697886"/>
          <a:ext cx="981929" cy="490964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</dgm:spPr>
      <dgm:t>
        <a:bodyPr/>
        <a:lstStyle/>
        <a:p>
          <a:r>
            <a:rPr lang="zh-CN" altLang="en-US">
              <a:solidFill>
                <a:sysClr val="window" lastClr="FFFFFF"/>
              </a:solidFill>
              <a:latin typeface="Calibri"/>
              <a:ea typeface="宋体" charset="-122"/>
              <a:cs typeface="+mn-cs"/>
            </a:rPr>
            <a:t>财务部</a:t>
          </a:r>
        </a:p>
      </dgm:t>
    </dgm:pt>
    <dgm:pt modelId="{F4C7FB39-18B1-49FA-9667-D980BC812664}" type="sibTrans" cxnId="{B9D31DC0-838A-4661-A2D5-66351B202EFB}">
      <dgm:prSet/>
      <dgm:spPr/>
      <dgm:t>
        <a:bodyPr/>
        <a:lstStyle/>
        <a:p>
          <a:endParaRPr lang="zh-CN" altLang="en-US"/>
        </a:p>
      </dgm:t>
    </dgm:pt>
    <dgm:pt modelId="{BBFD1EAD-0F43-4444-ADEC-34E599D853F0}" type="parTrans" cxnId="{AC2517DA-6CD8-45D1-AAA9-34538D4B34AE}">
      <dgm:prSet/>
      <dgm:spPr>
        <a:xfrm>
          <a:off x="2043299" y="491680"/>
          <a:ext cx="594067" cy="206205"/>
        </a:xfr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</dgm:spPr>
      <dgm:t>
        <a:bodyPr/>
        <a:lstStyle/>
        <a:p>
          <a:endParaRPr lang="zh-CN" altLang="en-US"/>
        </a:p>
      </dgm:t>
    </dgm:pt>
    <dgm:pt modelId="{F1D897E9-0881-4797-9CA3-EE1933CC1A7D}">
      <dgm:prSet phldrT="[文本]"/>
      <dgm:spPr>
        <a:xfrm>
          <a:off x="1552334" y="697886"/>
          <a:ext cx="981929" cy="490964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</dgm:spPr>
      <dgm:t>
        <a:bodyPr/>
        <a:lstStyle/>
        <a:p>
          <a:r>
            <a:rPr lang="zh-CN" altLang="en-US">
              <a:solidFill>
                <a:sysClr val="window" lastClr="FFFFFF"/>
              </a:solidFill>
              <a:latin typeface="Calibri"/>
              <a:ea typeface="宋体" charset="-122"/>
              <a:cs typeface="+mn-cs"/>
            </a:rPr>
            <a:t>市场部</a:t>
          </a:r>
        </a:p>
      </dgm:t>
    </dgm:pt>
    <dgm:pt modelId="{CA23405D-050F-4EBC-84D8-D7B0C772C26C}" type="sibTrans" cxnId="{AC2517DA-6CD8-45D1-AAA9-34538D4B34AE}">
      <dgm:prSet/>
      <dgm:spPr/>
      <dgm:t>
        <a:bodyPr/>
        <a:lstStyle/>
        <a:p>
          <a:endParaRPr lang="zh-CN" altLang="en-US"/>
        </a:p>
      </dgm:t>
    </dgm:pt>
    <dgm:pt modelId="{4F6A79B4-0E2B-4029-B28D-7310F6B2CA56}" type="parTrans" cxnId="{F94FD2F0-8DF3-448C-8F1A-0924AC5CF625}">
      <dgm:prSet/>
      <dgm:spPr>
        <a:xfrm>
          <a:off x="2637366" y="491680"/>
          <a:ext cx="594067" cy="206205"/>
        </a:xfr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</dgm:spPr>
      <dgm:t>
        <a:bodyPr/>
        <a:lstStyle/>
        <a:p>
          <a:endParaRPr lang="zh-CN" altLang="en-US"/>
        </a:p>
      </dgm:t>
    </dgm:pt>
    <dgm:pt modelId="{8C4DD950-7E73-4D12-AD65-B0BACCC6C737}">
      <dgm:prSet phldrT="[文本]"/>
      <dgm:spPr>
        <a:xfrm>
          <a:off x="2740469" y="697886"/>
          <a:ext cx="981929" cy="490964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</dgm:spPr>
      <dgm:t>
        <a:bodyPr/>
        <a:lstStyle/>
        <a:p>
          <a:r>
            <a:rPr lang="zh-CN" altLang="en-US">
              <a:solidFill>
                <a:sysClr val="window" lastClr="FFFFFF"/>
              </a:solidFill>
              <a:latin typeface="Calibri"/>
              <a:ea typeface="宋体" charset="-122"/>
              <a:cs typeface="+mn-cs"/>
            </a:rPr>
            <a:t>人力资源部</a:t>
          </a:r>
        </a:p>
      </dgm:t>
    </dgm:pt>
    <dgm:pt modelId="{5FCC21CF-1F0F-486E-830D-EDD65B205FCD}" type="sibTrans" cxnId="{F94FD2F0-8DF3-448C-8F1A-0924AC5CF625}">
      <dgm:prSet/>
      <dgm:spPr/>
      <dgm:t>
        <a:bodyPr/>
        <a:lstStyle/>
        <a:p>
          <a:endParaRPr lang="zh-CN" altLang="en-US"/>
        </a:p>
      </dgm:t>
    </dgm:pt>
    <dgm:pt modelId="{990D0E39-9D6A-44C7-B872-A841659BC709}" type="parTrans" cxnId="{EEB80D68-DB3B-465A-9210-14B3377D30AD}">
      <dgm:prSet/>
      <dgm:spPr>
        <a:xfrm>
          <a:off x="2637366" y="491680"/>
          <a:ext cx="1782202" cy="206205"/>
        </a:xfr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</dgm:spPr>
      <dgm:t>
        <a:bodyPr/>
        <a:lstStyle/>
        <a:p>
          <a:endParaRPr lang="zh-CN" altLang="en-US"/>
        </a:p>
      </dgm:t>
    </dgm:pt>
    <dgm:pt modelId="{F8E44F63-C1FA-4EDA-A43A-7564A00AA8C4}">
      <dgm:prSet/>
      <dgm:spPr>
        <a:xfrm>
          <a:off x="3928604" y="697886"/>
          <a:ext cx="981929" cy="490964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</dgm:spPr>
      <dgm:t>
        <a:bodyPr/>
        <a:lstStyle/>
        <a:p>
          <a:r>
            <a:rPr lang="zh-CN" altLang="en-US">
              <a:solidFill>
                <a:sysClr val="window" lastClr="FFFFFF"/>
              </a:solidFill>
              <a:latin typeface="Calibri"/>
              <a:ea typeface="宋体" charset="-122"/>
              <a:cs typeface="+mn-cs"/>
            </a:rPr>
            <a:t>技术部</a:t>
          </a:r>
        </a:p>
      </dgm:t>
    </dgm:pt>
    <dgm:pt modelId="{4C4A4B0A-00B9-43E2-A152-C9B92EB466FF}" type="sibTrans" cxnId="{EEB80D68-DB3B-465A-9210-14B3377D30AD}">
      <dgm:prSet/>
      <dgm:spPr/>
      <dgm:t>
        <a:bodyPr/>
        <a:lstStyle/>
        <a:p>
          <a:endParaRPr lang="zh-CN" altLang="en-US"/>
        </a:p>
      </dgm:t>
    </dgm:pt>
    <dgm:pt modelId="{B08E8194-64E7-4F25-A578-A03EC4A0BA29}" type="sibTrans" cxnId="{0F8A1EA2-B68F-4080-BB30-95C2E2312012}">
      <dgm:prSet/>
      <dgm:spPr/>
      <dgm:t>
        <a:bodyPr/>
        <a:lstStyle/>
        <a:p>
          <a:endParaRPr lang="zh-CN" altLang="en-US"/>
        </a:p>
      </dgm:t>
    </dgm:pt>
    <dgm:pt modelId="{04E7777F-3057-4662-9B6F-013BBF645A69}" type="pres">
      <dgm:prSet presAssocID="{3921C97C-497A-47D3-9EBF-4B81E3B68F1E}" presName="hierChild1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7F699BD0-6A5F-471F-B646-0CDF9BF9002A}" type="pres">
      <dgm:prSet presAssocID="{B8AD7E34-7F6F-4DAE-88D4-295DA0DE5CA1}" presName="hierRoot1">
        <dgm:presLayoutVars>
          <dgm:hierBranch val="init"/>
        </dgm:presLayoutVars>
      </dgm:prSet>
      <dgm:spPr/>
      <dgm:t>
        <a:bodyPr/>
        <a:lstStyle/>
        <a:p/>
      </dgm:t>
    </dgm:pt>
    <dgm:pt modelId="{1A16B486-D436-4487-A7FF-7A543E476256}" type="pres">
      <dgm:prSet presAssocID="{B8AD7E34-7F6F-4DAE-88D4-295DA0DE5CA1}" presName="rootComposite1"/>
      <dgm:spPr/>
      <dgm:t>
        <a:bodyPr/>
        <a:lstStyle/>
        <a:p/>
      </dgm:t>
    </dgm:pt>
    <dgm:pt modelId="{F69672A5-0F22-4464-A0E1-4116A3A23874}" type="pres">
      <dgm:prSet presAssocID="{B8AD7E34-7F6F-4DAE-88D4-295DA0DE5CA1}" presName="rootText1" presStyleLbl="node0" presStyleCnt="1" custLinFactNeighborX="-2766" custLinFactNeighborY="-3228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F7E5268D-75EF-4C79-9B61-F0B369F13983}" type="pres">
      <dgm:prSet presAssocID="{B8AD7E34-7F6F-4DAE-88D4-295DA0DE5CA1}" presName="rootConnector1" presStyleLbl="node1" presStyleCnt="1"/>
      <dgm:spPr/>
      <dgm:t>
        <a:bodyPr/>
        <a:lstStyle/>
        <a:p>
          <a:endParaRPr lang="zh-CN" altLang="en-US"/>
        </a:p>
      </dgm:t>
    </dgm:pt>
    <dgm:pt modelId="{D0383C11-8536-4823-B7CC-E27598E7F2D8}" type="pres">
      <dgm:prSet presAssocID="{B8AD7E34-7F6F-4DAE-88D4-295DA0DE5CA1}" presName="hierChild2"/>
      <dgm:spPr/>
      <dgm:t>
        <a:bodyPr/>
        <a:lstStyle/>
        <a:p/>
      </dgm:t>
    </dgm:pt>
    <dgm:pt modelId="{CAE9754E-0C71-4ED3-915F-409DDB9F87E1}" type="pres">
      <dgm:prSet presAssocID="{90BCB6FE-97CC-49CC-B49B-02698DF2D2DB}" presName="Name37" presStyleLbl="parChTrans1D2" presStyleIdx="3" presStyleCnt="4"/>
      <dgm:spPr/>
      <dgm:t>
        <a:bodyPr/>
        <a:lstStyle/>
        <a:p>
          <a:endParaRPr lang="zh-CN" altLang="en-US"/>
        </a:p>
      </dgm:t>
    </dgm:pt>
    <dgm:pt modelId="{E3BE6D46-CC86-4AAB-AA9E-501FBFC75AC4}" type="pres">
      <dgm:prSet presAssocID="{26426BC1-C13A-4DA1-8111-B599076B9CE7}" presName="hierRoot2">
        <dgm:presLayoutVars>
          <dgm:hierBranch val="init"/>
        </dgm:presLayoutVars>
      </dgm:prSet>
      <dgm:spPr/>
      <dgm:t>
        <a:bodyPr/>
        <a:lstStyle/>
        <a:p/>
      </dgm:t>
    </dgm:pt>
    <dgm:pt modelId="{9B4EFEB5-F99E-450B-8D0E-1A0A16BE35BB}" type="pres">
      <dgm:prSet presAssocID="{26426BC1-C13A-4DA1-8111-B599076B9CE7}" presName="rootComposite"/>
      <dgm:spPr/>
      <dgm:t>
        <a:bodyPr/>
        <a:lstStyle/>
        <a:p/>
      </dgm:t>
    </dgm:pt>
    <dgm:pt modelId="{2484FC00-F928-4868-AEF7-E85568365F3D}" type="pres">
      <dgm:prSet presAssocID="{26426BC1-C13A-4DA1-8111-B599076B9CE7}" presName="rootText" presStyleLbl="node2" presStyleCnt="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CAA25B42-1F69-4311-A112-7C5530E79A3F}" type="pres">
      <dgm:prSet presAssocID="{26426BC1-C13A-4DA1-8111-B599076B9CE7}" presName="rootConnector" presStyleLbl="node2" presStyleCnt="4"/>
      <dgm:spPr/>
      <dgm:t>
        <a:bodyPr/>
        <a:lstStyle/>
        <a:p>
          <a:endParaRPr lang="zh-CN" altLang="en-US"/>
        </a:p>
      </dgm:t>
    </dgm:pt>
    <dgm:pt modelId="{71D15FFF-594C-4B64-89F1-02F5B3F5CB9F}" type="pres">
      <dgm:prSet presAssocID="{26426BC1-C13A-4DA1-8111-B599076B9CE7}" presName="hierChild4"/>
      <dgm:spPr/>
      <dgm:t>
        <a:bodyPr/>
        <a:lstStyle/>
        <a:p/>
      </dgm:t>
    </dgm:pt>
    <dgm:pt modelId="{004DB535-69E5-4275-BD29-940872CB016A}" type="pres">
      <dgm:prSet presAssocID="{26426BC1-C13A-4DA1-8111-B599076B9CE7}" presName="hierChild5"/>
      <dgm:spPr/>
      <dgm:t>
        <a:bodyPr/>
        <a:lstStyle/>
        <a:p/>
      </dgm:t>
    </dgm:pt>
    <dgm:pt modelId="{1DF91844-CEBD-4248-AA9F-81255B57661D}" type="pres">
      <dgm:prSet presAssocID="{BBFD1EAD-0F43-4444-ADEC-34E599D853F0}" presName="Name37" presStyleLbl="parChTrans1D2" presStyleIdx="2" presStyleCnt="4"/>
      <dgm:spPr/>
      <dgm:t>
        <a:bodyPr/>
        <a:lstStyle/>
        <a:p>
          <a:endParaRPr lang="zh-CN" altLang="en-US"/>
        </a:p>
      </dgm:t>
    </dgm:pt>
    <dgm:pt modelId="{79470C7B-CFBD-4C20-A94E-C1723DCFB31C}" type="pres">
      <dgm:prSet presAssocID="{F1D897E9-0881-4797-9CA3-EE1933CC1A7D}" presName="hierRoot2">
        <dgm:presLayoutVars>
          <dgm:hierBranch val="init"/>
        </dgm:presLayoutVars>
      </dgm:prSet>
      <dgm:spPr/>
      <dgm:t>
        <a:bodyPr/>
        <a:lstStyle/>
        <a:p/>
      </dgm:t>
    </dgm:pt>
    <dgm:pt modelId="{32CCEBCA-051D-4B39-AC1E-72D0D47690E3}" type="pres">
      <dgm:prSet presAssocID="{F1D897E9-0881-4797-9CA3-EE1933CC1A7D}" presName="rootComposite"/>
      <dgm:spPr/>
      <dgm:t>
        <a:bodyPr/>
        <a:lstStyle/>
        <a:p/>
      </dgm:t>
    </dgm:pt>
    <dgm:pt modelId="{60A5F26C-0162-4C4B-B9FB-0A0FD0CF3476}" type="pres">
      <dgm:prSet presAssocID="{F1D897E9-0881-4797-9CA3-EE1933CC1A7D}" presName="rootText" presStyleLbl="node2" presStyleIdx="1" presStyleCnt="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4B479066-A274-4E22-8E73-A4898CDAA7E2}" type="pres">
      <dgm:prSet presAssocID="{F1D897E9-0881-4797-9CA3-EE1933CC1A7D}" presName="rootConnector" presStyleLbl="node2" presStyleIdx="1" presStyleCnt="4"/>
      <dgm:spPr/>
      <dgm:t>
        <a:bodyPr/>
        <a:lstStyle/>
        <a:p>
          <a:endParaRPr lang="zh-CN" altLang="en-US"/>
        </a:p>
      </dgm:t>
    </dgm:pt>
    <dgm:pt modelId="{9B0EC3E6-0763-4B7F-88CC-921401166D00}" type="pres">
      <dgm:prSet presAssocID="{F1D897E9-0881-4797-9CA3-EE1933CC1A7D}" presName="hierChild4"/>
      <dgm:spPr/>
      <dgm:t>
        <a:bodyPr/>
        <a:lstStyle/>
        <a:p/>
      </dgm:t>
    </dgm:pt>
    <dgm:pt modelId="{50F43443-8774-42F3-82B7-1286C59F3327}" type="pres">
      <dgm:prSet presAssocID="{F1D897E9-0881-4797-9CA3-EE1933CC1A7D}" presName="hierChild5"/>
      <dgm:spPr/>
      <dgm:t>
        <a:bodyPr/>
        <a:lstStyle/>
        <a:p/>
      </dgm:t>
    </dgm:pt>
    <dgm:pt modelId="{9CD76B57-0E48-45CB-AD99-A869BE840037}" type="pres">
      <dgm:prSet presAssocID="{4F6A79B4-0E2B-4029-B28D-7310F6B2CA56}" presName="Name37" presStyleLbl="parChTrans1D2" presStyleIdx="1" presStyleCnt="4"/>
      <dgm:spPr/>
      <dgm:t>
        <a:bodyPr/>
        <a:lstStyle/>
        <a:p>
          <a:endParaRPr lang="zh-CN" altLang="en-US"/>
        </a:p>
      </dgm:t>
    </dgm:pt>
    <dgm:pt modelId="{C5C3FFED-C6FB-405B-B970-86EAB899AEA8}" type="pres">
      <dgm:prSet presAssocID="{8C4DD950-7E73-4D12-AD65-B0BACCC6C737}" presName="hierRoot2">
        <dgm:presLayoutVars>
          <dgm:hierBranch val="init"/>
        </dgm:presLayoutVars>
      </dgm:prSet>
      <dgm:spPr/>
      <dgm:t>
        <a:bodyPr/>
        <a:lstStyle/>
        <a:p/>
      </dgm:t>
    </dgm:pt>
    <dgm:pt modelId="{1515706F-ED52-4AC1-BEC9-56C97A9CDDBF}" type="pres">
      <dgm:prSet presAssocID="{8C4DD950-7E73-4D12-AD65-B0BACCC6C737}" presName="rootComposite"/>
      <dgm:spPr/>
      <dgm:t>
        <a:bodyPr/>
        <a:lstStyle/>
        <a:p/>
      </dgm:t>
    </dgm:pt>
    <dgm:pt modelId="{F20BB85E-3510-452F-9257-7F0D15DFC1D3}" type="pres">
      <dgm:prSet presAssocID="{8C4DD950-7E73-4D12-AD65-B0BACCC6C737}" presName="rootText" presStyleLbl="node2" presStyleIdx="2" presStyleCnt="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5ED531C9-C795-409F-BC83-7AC478B4AB20}" type="pres">
      <dgm:prSet presAssocID="{8C4DD950-7E73-4D12-AD65-B0BACCC6C737}" presName="rootConnector" presStyleLbl="node2" presStyleIdx="2" presStyleCnt="4"/>
      <dgm:spPr/>
      <dgm:t>
        <a:bodyPr/>
        <a:lstStyle/>
        <a:p>
          <a:endParaRPr lang="zh-CN" altLang="en-US"/>
        </a:p>
      </dgm:t>
    </dgm:pt>
    <dgm:pt modelId="{79D27E21-DDA6-458E-90FF-53D853064E70}" type="pres">
      <dgm:prSet presAssocID="{8C4DD950-7E73-4D12-AD65-B0BACCC6C737}" presName="hierChild4"/>
      <dgm:spPr/>
      <dgm:t>
        <a:bodyPr/>
        <a:lstStyle/>
        <a:p/>
      </dgm:t>
    </dgm:pt>
    <dgm:pt modelId="{158F99EB-DFA4-463F-BF9E-A9E1AD62C28C}" type="pres">
      <dgm:prSet presAssocID="{8C4DD950-7E73-4D12-AD65-B0BACCC6C737}" presName="hierChild5"/>
      <dgm:spPr/>
      <dgm:t>
        <a:bodyPr/>
        <a:lstStyle/>
        <a:p/>
      </dgm:t>
    </dgm:pt>
    <dgm:pt modelId="{17F065DB-D846-4749-9278-B6F8DC354B5F}" type="pres">
      <dgm:prSet presAssocID="{990D0E39-9D6A-44C7-B872-A841659BC709}" presName="Name37" presStyleLbl="parChTrans1D2" presStyleCnt="4"/>
      <dgm:spPr/>
      <dgm:t>
        <a:bodyPr/>
        <a:lstStyle/>
        <a:p>
          <a:endParaRPr lang="zh-CN" altLang="en-US"/>
        </a:p>
      </dgm:t>
    </dgm:pt>
    <dgm:pt modelId="{52B82777-7029-4EDC-A9DC-2ECFC2CE6A3B}" type="pres">
      <dgm:prSet presAssocID="{F8E44F63-C1FA-4EDA-A43A-7564A00AA8C4}" presName="hierRoot2">
        <dgm:presLayoutVars>
          <dgm:hierBranch val="init"/>
        </dgm:presLayoutVars>
      </dgm:prSet>
      <dgm:spPr/>
      <dgm:t>
        <a:bodyPr/>
        <a:lstStyle/>
        <a:p/>
      </dgm:t>
    </dgm:pt>
    <dgm:pt modelId="{4665A74F-116B-448D-89EE-50A379E6B145}" type="pres">
      <dgm:prSet presAssocID="{F8E44F63-C1FA-4EDA-A43A-7564A00AA8C4}" presName="rootComposite"/>
      <dgm:spPr/>
      <dgm:t>
        <a:bodyPr/>
        <a:lstStyle/>
        <a:p/>
      </dgm:t>
    </dgm:pt>
    <dgm:pt modelId="{B100454A-5E72-474F-BFF9-B3044D58FFB0}" type="pres">
      <dgm:prSet presAssocID="{F8E44F63-C1FA-4EDA-A43A-7564A00AA8C4}" presName="rootText" presStyleLbl="node2" presStyleIdx="3" presStyleCnt="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A657F393-ECBB-4821-AF98-C1C4FFFD4426}" type="pres">
      <dgm:prSet presAssocID="{F8E44F63-C1FA-4EDA-A43A-7564A00AA8C4}" presName="rootConnector" presStyleLbl="node2" presStyleIdx="3" presStyleCnt="4"/>
      <dgm:spPr/>
      <dgm:t>
        <a:bodyPr/>
        <a:lstStyle/>
        <a:p>
          <a:endParaRPr lang="zh-CN" altLang="en-US"/>
        </a:p>
      </dgm:t>
    </dgm:pt>
    <dgm:pt modelId="{07BF9AAF-2AC1-42D3-9657-B419C0113FD4}" type="pres">
      <dgm:prSet presAssocID="{F8E44F63-C1FA-4EDA-A43A-7564A00AA8C4}" presName="hierChild4"/>
      <dgm:spPr/>
      <dgm:t>
        <a:bodyPr/>
        <a:lstStyle/>
        <a:p/>
      </dgm:t>
    </dgm:pt>
    <dgm:pt modelId="{0AE3F5EF-4FF3-40E0-863E-4C00019ABEF3}" type="pres">
      <dgm:prSet presAssocID="{F8E44F63-C1FA-4EDA-A43A-7564A00AA8C4}" presName="hierChild5"/>
      <dgm:spPr/>
      <dgm:t>
        <a:bodyPr/>
        <a:lstStyle/>
        <a:p/>
      </dgm:t>
    </dgm:pt>
    <dgm:pt modelId="{0099FDBD-1C8C-4D29-9A20-379734458022}" type="pres">
      <dgm:prSet presAssocID="{B8AD7E34-7F6F-4DAE-88D4-295DA0DE5CA1}" presName="hierChild3"/>
      <dgm:spPr/>
      <dgm:t>
        <a:bodyPr/>
        <a:lstStyle/>
        <a:p/>
      </dgm:t>
    </dgm:pt>
  </dgm:ptLst>
  <dgm:cxnLst>
    <dgm:cxn modelId="{0F8A1EA2-B68F-4080-BB30-95C2E2312012}" srcId="{3921C97C-497A-47D3-9EBF-4B81E3B68F1E}" destId="{B8AD7E34-7F6F-4DAE-88D4-295DA0DE5CA1}" srcOrd="0" destOrd="0" parTransId="{5DF3868D-D6AC-47F7-8505-1ACB5BEB03BC}" sibTransId="{B08E8194-64E7-4F25-A578-A03EC4A0BA29}"/>
    <dgm:cxn modelId="{B9D31DC0-838A-4661-A2D5-66351B202EFB}" srcId="{B8AD7E34-7F6F-4DAE-88D4-295DA0DE5CA1}" destId="{26426BC1-C13A-4DA1-8111-B599076B9CE7}" srcOrd="0" destOrd="0" parTransId="{90BCB6FE-97CC-49CC-B49B-02698DF2D2DB}" sibTransId="{F4C7FB39-18B1-49FA-9667-D980BC812664}"/>
    <dgm:cxn modelId="{AC2517DA-6CD8-45D1-AAA9-34538D4B34AE}" srcId="{B8AD7E34-7F6F-4DAE-88D4-295DA0DE5CA1}" destId="{F1D897E9-0881-4797-9CA3-EE1933CC1A7D}" srcOrd="1" destOrd="0" parTransId="{BBFD1EAD-0F43-4444-ADEC-34E599D853F0}" sibTransId="{CA23405D-050F-4EBC-84D8-D7B0C772C26C}"/>
    <dgm:cxn modelId="{F94FD2F0-8DF3-448C-8F1A-0924AC5CF625}" srcId="{B8AD7E34-7F6F-4DAE-88D4-295DA0DE5CA1}" destId="{8C4DD950-7E73-4D12-AD65-B0BACCC6C737}" srcOrd="2" destOrd="0" parTransId="{4F6A79B4-0E2B-4029-B28D-7310F6B2CA56}" sibTransId="{5FCC21CF-1F0F-486E-830D-EDD65B205FCD}"/>
    <dgm:cxn modelId="{EEB80D68-DB3B-465A-9210-14B3377D30AD}" srcId="{B8AD7E34-7F6F-4DAE-88D4-295DA0DE5CA1}" destId="{F8E44F63-C1FA-4EDA-A43A-7564A00AA8C4}" srcOrd="3" destOrd="0" parTransId="{990D0E39-9D6A-44C7-B872-A841659BC709}" sibTransId="{4C4A4B0A-00B9-43E2-A152-C9B92EB466FF}"/>
    <dgm:cxn modelId="{C30C638F-717B-45FC-87C9-19F2A2341C4C}" type="presOf" srcId="{3921C97C-497A-47D3-9EBF-4B81E3B68F1E}" destId="{04E7777F-3057-4662-9B6F-013BBF645A69}" srcOrd="0" destOrd="0" presId="urn:microsoft.com/office/officeart/2005/8/layout/orgChart1"/>
    <dgm:cxn modelId="{DB91A81C-50D2-40DD-BD8B-EDDADB204305}" type="presParOf" srcId="{04E7777F-3057-4662-9B6F-013BBF645A69}" destId="{7F699BD0-6A5F-471F-B646-0CDF9BF9002A}" srcOrd="0" destOrd="0" presId="urn:microsoft.com/office/officeart/2005/8/layout/orgChart1"/>
    <dgm:cxn modelId="{CAD9B54F-9D4B-4F8B-AE39-3DA1368EC196}" type="presParOf" srcId="{7F699BD0-6A5F-471F-B646-0CDF9BF9002A}" destId="{1A16B486-D436-4487-A7FF-7A543E476256}" srcOrd="0" destOrd="0" presId="urn:microsoft.com/office/officeart/2005/8/layout/orgChart1"/>
    <dgm:cxn modelId="{ECF1A609-7E6F-4C00-8856-DB615D49EA16}" type="presParOf" srcId="{1A16B486-D436-4487-A7FF-7A543E476256}" destId="{F69672A5-0F22-4464-A0E1-4116A3A23874}" srcOrd="0" destOrd="0" presId="urn:microsoft.com/office/officeart/2005/8/layout/orgChart1"/>
    <dgm:cxn modelId="{5727E8F9-F254-4F1C-8D72-1FBE42A9BF8C}" type="presOf" srcId="{B8AD7E34-7F6F-4DAE-88D4-295DA0DE5CA1}" destId="{F69672A5-0F22-4464-A0E1-4116A3A23874}" srcOrd="0" destOrd="0" presId="urn:microsoft.com/office/officeart/2005/8/layout/orgChart1"/>
    <dgm:cxn modelId="{FB62DC3D-6B3D-4408-A2D0-FB3D0AA5B673}" type="presParOf" srcId="{1A16B486-D436-4487-A7FF-7A543E476256}" destId="{F7E5268D-75EF-4C79-9B61-F0B369F13983}" srcOrd="1" destOrd="0" presId="urn:microsoft.com/office/officeart/2005/8/layout/orgChart1"/>
    <dgm:cxn modelId="{859B4BA4-5FCD-4F63-B355-CED69FCF8375}" type="presOf" srcId="{B8AD7E34-7F6F-4DAE-88D4-295DA0DE5CA1}" destId="{F7E5268D-75EF-4C79-9B61-F0B369F13983}" srcOrd="1" destOrd="0" presId="urn:microsoft.com/office/officeart/2005/8/layout/orgChart1"/>
    <dgm:cxn modelId="{F3E1822E-A8F9-4D53-B964-8E0315C19A47}" type="presParOf" srcId="{7F699BD0-6A5F-471F-B646-0CDF9BF9002A}" destId="{D0383C11-8536-4823-B7CC-E27598E7F2D8}" srcOrd="1" destOrd="0" presId="urn:microsoft.com/office/officeart/2005/8/layout/orgChart1"/>
    <dgm:cxn modelId="{90A48F1E-1ABA-4CDD-90D8-E68084BA91E2}" type="presParOf" srcId="{D0383C11-8536-4823-B7CC-E27598E7F2D8}" destId="{CAE9754E-0C71-4ED3-915F-409DDB9F87E1}" srcOrd="0" destOrd="0" presId="urn:microsoft.com/office/officeart/2005/8/layout/orgChart1"/>
    <dgm:cxn modelId="{70A7C3CF-5BE0-440A-99B1-DA6BAC471B18}" type="presOf" srcId="{90BCB6FE-97CC-49CC-B49B-02698DF2D2DB}" destId="{CAE9754E-0C71-4ED3-915F-409DDB9F87E1}" srcOrd="0" destOrd="0" presId="urn:microsoft.com/office/officeart/2005/8/layout/orgChart1"/>
    <dgm:cxn modelId="{140C2B42-AB78-4764-9D44-3D3400A31081}" type="presParOf" srcId="{D0383C11-8536-4823-B7CC-E27598E7F2D8}" destId="{E3BE6D46-CC86-4AAB-AA9E-501FBFC75AC4}" srcOrd="1" destOrd="0" presId="urn:microsoft.com/office/officeart/2005/8/layout/orgChart1"/>
    <dgm:cxn modelId="{56781104-5D1A-4EE4-837D-0323A3D56847}" type="presParOf" srcId="{E3BE6D46-CC86-4AAB-AA9E-501FBFC75AC4}" destId="{9B4EFEB5-F99E-450B-8D0E-1A0A16BE35BB}" srcOrd="0" destOrd="0" presId="urn:microsoft.com/office/officeart/2005/8/layout/orgChart1"/>
    <dgm:cxn modelId="{09CBE88C-DCAE-4C4F-BE40-BFE9D2E7D53F}" type="presParOf" srcId="{9B4EFEB5-F99E-450B-8D0E-1A0A16BE35BB}" destId="{2484FC00-F928-4868-AEF7-E85568365F3D}" srcOrd="0" destOrd="0" presId="urn:microsoft.com/office/officeart/2005/8/layout/orgChart1"/>
    <dgm:cxn modelId="{ECA60936-5D80-4EAA-8C56-D80CEE416270}" type="presOf" srcId="{26426BC1-C13A-4DA1-8111-B599076B9CE7}" destId="{2484FC00-F928-4868-AEF7-E85568365F3D}" srcOrd="0" destOrd="0" presId="urn:microsoft.com/office/officeart/2005/8/layout/orgChart1"/>
    <dgm:cxn modelId="{007EBA4C-54E3-44A7-B03E-5CCC42CF72B9}" type="presParOf" srcId="{9B4EFEB5-F99E-450B-8D0E-1A0A16BE35BB}" destId="{CAA25B42-1F69-4311-A112-7C5530E79A3F}" srcOrd="1" destOrd="0" presId="urn:microsoft.com/office/officeart/2005/8/layout/orgChart1"/>
    <dgm:cxn modelId="{08A3A16F-45EF-4374-BA4E-50A8720F5C68}" type="presOf" srcId="{26426BC1-C13A-4DA1-8111-B599076B9CE7}" destId="{CAA25B42-1F69-4311-A112-7C5530E79A3F}" srcOrd="1" destOrd="0" presId="urn:microsoft.com/office/officeart/2005/8/layout/orgChart1"/>
    <dgm:cxn modelId="{ABBF44DB-8240-4E3A-9CBF-0EF63A41C78A}" type="presParOf" srcId="{E3BE6D46-CC86-4AAB-AA9E-501FBFC75AC4}" destId="{71D15FFF-594C-4B64-89F1-02F5B3F5CB9F}" srcOrd="1" destOrd="0" presId="urn:microsoft.com/office/officeart/2005/8/layout/orgChart1"/>
    <dgm:cxn modelId="{8A3F96B6-2F33-4BBD-B881-B326258411CB}" type="presParOf" srcId="{E3BE6D46-CC86-4AAB-AA9E-501FBFC75AC4}" destId="{004DB535-69E5-4275-BD29-940872CB016A}" srcOrd="2" destOrd="0" presId="urn:microsoft.com/office/officeart/2005/8/layout/orgChart1"/>
    <dgm:cxn modelId="{14BAB32C-019B-4ED7-81C6-997B960D89AC}" type="presParOf" srcId="{D0383C11-8536-4823-B7CC-E27598E7F2D8}" destId="{1DF91844-CEBD-4248-AA9F-81255B57661D}" srcOrd="2" destOrd="0" presId="urn:microsoft.com/office/officeart/2005/8/layout/orgChart1"/>
    <dgm:cxn modelId="{FECFC671-AB34-4E7B-9416-FEF6E6C89FF5}" type="presOf" srcId="{BBFD1EAD-0F43-4444-ADEC-34E599D853F0}" destId="{1DF91844-CEBD-4248-AA9F-81255B57661D}" srcOrd="0" destOrd="0" presId="urn:microsoft.com/office/officeart/2005/8/layout/orgChart1"/>
    <dgm:cxn modelId="{E37E25F8-1C0A-4895-B8E0-6564B178393D}" type="presParOf" srcId="{D0383C11-8536-4823-B7CC-E27598E7F2D8}" destId="{79470C7B-CFBD-4C20-A94E-C1723DCFB31C}" srcOrd="3" destOrd="0" presId="urn:microsoft.com/office/officeart/2005/8/layout/orgChart1"/>
    <dgm:cxn modelId="{58AF12E4-B922-4074-94D8-7198F29B96B0}" type="presParOf" srcId="{79470C7B-CFBD-4C20-A94E-C1723DCFB31C}" destId="{32CCEBCA-051D-4B39-AC1E-72D0D47690E3}" srcOrd="0" destOrd="0" presId="urn:microsoft.com/office/officeart/2005/8/layout/orgChart1"/>
    <dgm:cxn modelId="{A7EC5E67-98C6-4716-B904-B29087F6011C}" type="presParOf" srcId="{32CCEBCA-051D-4B39-AC1E-72D0D47690E3}" destId="{60A5F26C-0162-4C4B-B9FB-0A0FD0CF3476}" srcOrd="0" destOrd="0" presId="urn:microsoft.com/office/officeart/2005/8/layout/orgChart1"/>
    <dgm:cxn modelId="{585E7FFD-B3D9-4712-B803-9E6EF07A16CF}" type="presOf" srcId="{F1D897E9-0881-4797-9CA3-EE1933CC1A7D}" destId="{60A5F26C-0162-4C4B-B9FB-0A0FD0CF3476}" srcOrd="0" destOrd="0" presId="urn:microsoft.com/office/officeart/2005/8/layout/orgChart1"/>
    <dgm:cxn modelId="{B307F1B0-FB78-465E-8ABF-F2B84A26A066}" type="presParOf" srcId="{32CCEBCA-051D-4B39-AC1E-72D0D47690E3}" destId="{4B479066-A274-4E22-8E73-A4898CDAA7E2}" srcOrd="1" destOrd="0" presId="urn:microsoft.com/office/officeart/2005/8/layout/orgChart1"/>
    <dgm:cxn modelId="{E001A377-2548-459A-833A-4D6255083788}" type="presOf" srcId="{F1D897E9-0881-4797-9CA3-EE1933CC1A7D}" destId="{4B479066-A274-4E22-8E73-A4898CDAA7E2}" srcOrd="1" destOrd="0" presId="urn:microsoft.com/office/officeart/2005/8/layout/orgChart1"/>
    <dgm:cxn modelId="{8D3DF30B-FC26-48BC-A862-E904A992535D}" type="presParOf" srcId="{79470C7B-CFBD-4C20-A94E-C1723DCFB31C}" destId="{9B0EC3E6-0763-4B7F-88CC-921401166D00}" srcOrd="1" destOrd="0" presId="urn:microsoft.com/office/officeart/2005/8/layout/orgChart1"/>
    <dgm:cxn modelId="{6250EFC8-C9E0-433B-ACC7-4E77EFBC3222}" type="presParOf" srcId="{79470C7B-CFBD-4C20-A94E-C1723DCFB31C}" destId="{50F43443-8774-42F3-82B7-1286C59F3327}" srcOrd="2" destOrd="0" presId="urn:microsoft.com/office/officeart/2005/8/layout/orgChart1"/>
    <dgm:cxn modelId="{E38B4471-9E8F-4967-B14F-75B63C499335}" type="presParOf" srcId="{D0383C11-8536-4823-B7CC-E27598E7F2D8}" destId="{9CD76B57-0E48-45CB-AD99-A869BE840037}" srcOrd="4" destOrd="0" presId="urn:microsoft.com/office/officeart/2005/8/layout/orgChart1"/>
    <dgm:cxn modelId="{FEAB7C5C-9FB1-4B40-9301-4442350AE247}" type="presOf" srcId="{4F6A79B4-0E2B-4029-B28D-7310F6B2CA56}" destId="{9CD76B57-0E48-45CB-AD99-A869BE840037}" srcOrd="0" destOrd="0" presId="urn:microsoft.com/office/officeart/2005/8/layout/orgChart1"/>
    <dgm:cxn modelId="{3B249751-47D6-48B4-800A-B3D31EE11BFB}" type="presParOf" srcId="{D0383C11-8536-4823-B7CC-E27598E7F2D8}" destId="{C5C3FFED-C6FB-405B-B970-86EAB899AEA8}" srcOrd="5" destOrd="0" presId="urn:microsoft.com/office/officeart/2005/8/layout/orgChart1"/>
    <dgm:cxn modelId="{7F6C5B3B-2DC0-47AF-ACB3-A494AD2D1988}" type="presParOf" srcId="{C5C3FFED-C6FB-405B-B970-86EAB899AEA8}" destId="{1515706F-ED52-4AC1-BEC9-56C97A9CDDBF}" srcOrd="0" destOrd="0" presId="urn:microsoft.com/office/officeart/2005/8/layout/orgChart1"/>
    <dgm:cxn modelId="{AEFC2A6A-BF7D-4BD3-8D63-057219546419}" type="presParOf" srcId="{1515706F-ED52-4AC1-BEC9-56C97A9CDDBF}" destId="{F20BB85E-3510-452F-9257-7F0D15DFC1D3}" srcOrd="0" destOrd="0" presId="urn:microsoft.com/office/officeart/2005/8/layout/orgChart1"/>
    <dgm:cxn modelId="{3FD924C3-97A1-4364-9E76-5D0F0FE51CC5}" type="presOf" srcId="{8C4DD950-7E73-4D12-AD65-B0BACCC6C737}" destId="{F20BB85E-3510-452F-9257-7F0D15DFC1D3}" srcOrd="0" destOrd="0" presId="urn:microsoft.com/office/officeart/2005/8/layout/orgChart1"/>
    <dgm:cxn modelId="{5D6BD774-3095-4B68-8401-9E6A42A1AE06}" type="presParOf" srcId="{1515706F-ED52-4AC1-BEC9-56C97A9CDDBF}" destId="{5ED531C9-C795-409F-BC83-7AC478B4AB20}" srcOrd="1" destOrd="0" presId="urn:microsoft.com/office/officeart/2005/8/layout/orgChart1"/>
    <dgm:cxn modelId="{DC1D8EB8-CEC0-4CD4-B14B-858D813E92C0}" type="presOf" srcId="{8C4DD950-7E73-4D12-AD65-B0BACCC6C737}" destId="{5ED531C9-C795-409F-BC83-7AC478B4AB20}" srcOrd="1" destOrd="0" presId="urn:microsoft.com/office/officeart/2005/8/layout/orgChart1"/>
    <dgm:cxn modelId="{297D394B-0706-40C3-9D86-0D7FF19CA3A4}" type="presParOf" srcId="{C5C3FFED-C6FB-405B-B970-86EAB899AEA8}" destId="{79D27E21-DDA6-458E-90FF-53D853064E70}" srcOrd="1" destOrd="0" presId="urn:microsoft.com/office/officeart/2005/8/layout/orgChart1"/>
    <dgm:cxn modelId="{FF015B69-38B5-4472-B5DB-66E320362953}" type="presParOf" srcId="{C5C3FFED-C6FB-405B-B970-86EAB899AEA8}" destId="{158F99EB-DFA4-463F-BF9E-A9E1AD62C28C}" srcOrd="2" destOrd="0" presId="urn:microsoft.com/office/officeart/2005/8/layout/orgChart1"/>
    <dgm:cxn modelId="{4E74056D-C6DE-4192-8778-160BDE120B1D}" type="presParOf" srcId="{D0383C11-8536-4823-B7CC-E27598E7F2D8}" destId="{17F065DB-D846-4749-9278-B6F8DC354B5F}" srcOrd="6" destOrd="0" presId="urn:microsoft.com/office/officeart/2005/8/layout/orgChart1"/>
    <dgm:cxn modelId="{A5D7CB72-E182-4D03-9D08-15BAAF796CF2}" type="presOf" srcId="{990D0E39-9D6A-44C7-B872-A841659BC709}" destId="{17F065DB-D846-4749-9278-B6F8DC354B5F}" srcOrd="0" destOrd="0" presId="urn:microsoft.com/office/officeart/2005/8/layout/orgChart1"/>
    <dgm:cxn modelId="{F179659A-EA17-490F-80FF-7E27863D24ED}" type="presParOf" srcId="{D0383C11-8536-4823-B7CC-E27598E7F2D8}" destId="{52B82777-7029-4EDC-A9DC-2ECFC2CE6A3B}" srcOrd="7" destOrd="0" presId="urn:microsoft.com/office/officeart/2005/8/layout/orgChart1"/>
    <dgm:cxn modelId="{BFCDE8C2-923D-404E-9D3C-D9D7742942D7}" type="presParOf" srcId="{52B82777-7029-4EDC-A9DC-2ECFC2CE6A3B}" destId="{4665A74F-116B-448D-89EE-50A379E6B145}" srcOrd="0" destOrd="0" presId="urn:microsoft.com/office/officeart/2005/8/layout/orgChart1"/>
    <dgm:cxn modelId="{5A2FDA35-95F3-40D4-9681-98FF802B702C}" type="presParOf" srcId="{4665A74F-116B-448D-89EE-50A379E6B145}" destId="{B100454A-5E72-474F-BFF9-B3044D58FFB0}" srcOrd="0" destOrd="0" presId="urn:microsoft.com/office/officeart/2005/8/layout/orgChart1"/>
    <dgm:cxn modelId="{56D4132D-9AE7-4E2E-8473-111154AA826E}" type="presOf" srcId="{F8E44F63-C1FA-4EDA-A43A-7564A00AA8C4}" destId="{B100454A-5E72-474F-BFF9-B3044D58FFB0}" srcOrd="0" destOrd="0" presId="urn:microsoft.com/office/officeart/2005/8/layout/orgChart1"/>
    <dgm:cxn modelId="{780BD5AA-116E-4302-AEDA-7386F8C63D80}" type="presParOf" srcId="{4665A74F-116B-448D-89EE-50A379E6B145}" destId="{A657F393-ECBB-4821-AF98-C1C4FFFD4426}" srcOrd="1" destOrd="0" presId="urn:microsoft.com/office/officeart/2005/8/layout/orgChart1"/>
    <dgm:cxn modelId="{41195B02-668A-4F8B-8679-1CB88898F984}" type="presOf" srcId="{F8E44F63-C1FA-4EDA-A43A-7564A00AA8C4}" destId="{A657F393-ECBB-4821-AF98-C1C4FFFD4426}" srcOrd="1" destOrd="0" presId="urn:microsoft.com/office/officeart/2005/8/layout/orgChart1"/>
    <dgm:cxn modelId="{35694859-F9ED-42E4-924E-545CB4CE5250}" type="presParOf" srcId="{52B82777-7029-4EDC-A9DC-2ECFC2CE6A3B}" destId="{07BF9AAF-2AC1-42D3-9657-B419C0113FD4}" srcOrd="1" destOrd="0" presId="urn:microsoft.com/office/officeart/2005/8/layout/orgChart1"/>
    <dgm:cxn modelId="{88FD0D47-DF6B-45F1-BBB0-B8F1C89A40D5}" type="presParOf" srcId="{52B82777-7029-4EDC-A9DC-2ECFC2CE6A3B}" destId="{0AE3F5EF-4FF3-40E0-863E-4C00019ABEF3}" srcOrd="2" destOrd="0" presId="urn:microsoft.com/office/officeart/2005/8/layout/orgChart1"/>
    <dgm:cxn modelId="{6CC1CCF0-E12B-486F-AD22-2B5EFFAF1B38}" type="presParOf" srcId="{7F699BD0-6A5F-471F-B646-0CDF9BF9002A}" destId="{0099FDBD-1C8C-4D29-9A20-37973445802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4" minVer="http://schemas.openxmlformats.org/drawingml/2006/main"/>
    </a:ext>
  </dgm:extLst>
</dgm:dataModel>
</file>

<file path=ppt/diagrams/drawing1.xml><?xml version="1.0" encoding="utf-8"?>
<dsp:drawing xmlns:a="http://schemas.openxmlformats.org/drawingml/2006/main" xmlns:r="http://schemas.openxmlformats.org/officeDocument/2006/relationships" xmlns:dsp="http://schemas.microsoft.com/office/drawing/2008/diagram">
  <dsp:spTree>
    <dsp:nvGrpSpPr>
      <dsp:cNvPr id="183" name=""/>
      <dsp:cNvGrpSpPr/>
    </dsp:nvGrpSpPr>
    <dsp:grpSpPr/>
  </dsp:spTree>
</dsp:drawing>
</file>

<file path=ppt/diagrams/layout1.xml><?xml version="1.0" encoding="utf-8"?>
<dgm:layoutDef xmlns:a="http://schemas.openxmlformats.org/drawingml/2006/main" xmlns:r="http://schemas.openxmlformats.org/officeDocument/2006/relationships" xmlns:dgm="http://schemas.openxmlformats.org/drawingml/2006/diagram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r:blip="">
            <dgm:adjLst/>
          </dgm:shape>
          <dgm:presOf/>
          <dgm:ruleLst/>
          <dgm:layoutNode name="rootComposite1">
            <dgm:alg type="composite"/>
            <dgm:shape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/>
              </dgm:ruleLst>
            </dgm:layoutNode>
            <dgm:layoutNode name="rootConnector1" moveWith="rootText1">
              <dgm:alg type="sp"/>
              <dgm:shape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/>
                    </dgm:ruleLst>
                  </dgm:layoutNode>
                  <dgm:layoutNode name="rootConnector" moveWith="rootText">
                    <dgm:alg type="sp"/>
                    <dgm:shape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/>
                    </dgm:ruleLst>
                  </dgm:layoutNode>
                  <dgm:layoutNode name="rootConnector3" moveWith="rootText1">
                    <dgm:alg type="sp"/>
                    <dgm:shape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a="http://schemas.openxmlformats.org/drawingml/2006/main" xmlns:dgm="http://schemas.openxmlformats.org/drawingml/2006/diagram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6.emf" /><Relationship Id="rId2" Type="http://schemas.openxmlformats.org/officeDocument/2006/relationships/image" Target="../media/image17.emf" /><Relationship Id="rId3" Type="http://schemas.openxmlformats.org/officeDocument/2006/relationships/image" Target="../media/image18.wmf" /></Relationships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A6D296-F899-41CF-9B25-A6EA954DBBFC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altLang="zh-CN" smtClean="0"/>
              <a:t>.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67C007-7B28-4144-9A1A-E07EB567DBB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653329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3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ppt课件.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27055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6568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11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6371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12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</p:cSld>
  <p:clrMapOvr>
    <a:masterClrMapping/>
  </p:clrMapOvr>
  <p:transition/>
  <p:timing/>
</p:sldLayout>
</file>

<file path=ppt/slideLayouts/slideLayout13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5" y="1883832"/>
            <a:ext cx="3632202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069" y="1032933"/>
            <a:ext cx="2929463" cy="4792136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单击图标添加图片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6865" y="3255432"/>
            <a:ext cx="3632201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/>
  <p:timing/>
</p:sldLayout>
</file>

<file path=ppt/slideLayouts/slideLayout14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>
  <p:cSld name="带描述的全景图片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6" y="4815415"/>
            <a:ext cx="6798734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26260" y="1032933"/>
            <a:ext cx="7091482" cy="33612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None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单击图标添加图片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6866" y="5382153"/>
            <a:ext cx="6798734" cy="49371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/>
  <p:timing/>
</p:sldLayout>
</file>

<file path=ppt/slideLayouts/slideLayout15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6869" y="3308581"/>
            <a:ext cx="679872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6868" y="4777381"/>
            <a:ext cx="679873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obj" preserve="1">
  <p:cSld name="标题和内容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955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2404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6066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4688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8433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3371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5423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ppt课件.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2537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slideLayout" Target="../slideLayouts/slideLayout10.xml" /><Relationship Id="rId11" Type="http://schemas.openxmlformats.org/officeDocument/2006/relationships/slideLayout" Target="../slideLayouts/slideLayout11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slideLayout" Target="../slideLayouts/slideLayout7.xml" /><Relationship Id="rId8" Type="http://schemas.openxmlformats.org/officeDocument/2006/relationships/slideLayout" Target="../slideLayouts/slideLayout8.xml" /><Relationship Id="rId9" Type="http://schemas.openxmlformats.org/officeDocument/2006/relationships/slideLayout" Target="../slideLayouts/slideLayout9.xml" /></Relationships>
</file>

<file path=ppt/slideMasters/_rels/slideMaster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14.xml" /><Relationship Id="rId4" Type="http://schemas.openxmlformats.org/officeDocument/2006/relationships/slideLayout" Target="../slideLayouts/slideLayout15.xml" /><Relationship Id="rId5" Type="http://schemas.openxmlformats.org/officeDocument/2006/relationships/image" Target="../media/image1.png" /><Relationship Id="rId6" Type="http://schemas.openxmlformats.org/officeDocument/2006/relationships/image" Target="../media/image2.png" /><Relationship Id="rId7" Type="http://schemas.openxmlformats.org/officeDocument/2006/relationships/image" Target="../media/image3.png" /><Relationship Id="rId8" Type="http://schemas.openxmlformats.org/officeDocument/2006/relationships/image" Target="../media/image4.jpeg" /><Relationship Id="rId9" Type="http://schemas.openxmlformats.org/officeDocument/2006/relationships/theme" Target="../theme/theme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B77094-BA5A-4952-8E29-E5EBEFCD8C87}" type="datetimeFigureOut">
              <a:rPr lang="zh-CN" altLang="en-US" smtClean="0"/>
              <a:t>2019-07-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 smtClean="0"/>
              <a:t>ppt课件.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A86238-FACE-4E7F-971F-8677A7B686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017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Pr>
        <a:blipFill rotWithShape="0">
          <a:blip r:embed="rId8"/>
          <a:stretch>
            <a:fillRect/>
          </a:stretch>
        </a:blipFill>
      </p:bgPr>
    </p:bg>
    <p:spTree>
      <p:nvGrpSpPr>
        <p:cNvPr id="1" name=""/>
        <p:cNvGrpSpPr/>
        <p:nvPr/>
      </p:nvGrpSpPr>
      <p:grpSpPr/>
      <p:grpSp>
        <p:nvGrpSpPr>
          <p:cNvPr id="1026" name="Group 6"/>
          <p:cNvGrpSpPr/>
          <p:nvPr/>
        </p:nvGrpSpPr>
        <p:grpSpPr>
          <a:xfrm>
            <a:off x="0" y="0"/>
            <a:ext cx="9151938" cy="6858000"/>
            <a:chExt cx="9152467" cy="6858000"/>
          </a:xfrm>
        </p:grpSpPr>
        <p:pic>
          <p:nvPicPr>
            <p:cNvPr id="1032" name="Picture 7" descr="SD-PanelContent.png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grpSp>
          <p:nvGrpSpPr>
            <p:cNvPr id="1035" name="Rectangle 8"/>
            <p:cNvGrpSpPr/>
            <p:nvPr/>
          </p:nvGrpSpPr>
          <p:grpSpPr>
            <a:xfrm>
              <a:off x="548640" y="536448"/>
              <a:ext cx="8058912" cy="5772912"/>
              <a:chOff x="548640" y="536448"/>
              <a:chExt cx="8058912" cy="5772912"/>
            </a:xfrm>
          </p:grpSpPr>
          <p:pic>
            <p:nvPicPr>
              <p:cNvPr id="1033" name="Rectangle 8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8640" y="536448"/>
                <a:ext cx="8058912" cy="5772912"/>
              </a:xfrm>
              <a:prstGeom prst="rect">
                <a:avLst/>
              </a:prstGeom>
              <a:noFill/>
              <a:ln>
                <a:miter lim="800000"/>
              </a:ln>
            </p:spPr>
          </p:pic>
          <p:sp>
            <p:nvSpPr>
              <p:cNvPr id="1034" name=""/>
              <p:cNvSpPr/>
              <p:nvPr/>
            </p:nvSpPr>
            <p:spPr>
              <a:xfrm>
                <a:off x="553888" y="542807"/>
                <a:ext cx="8039776" cy="5756392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/>
              <a:lstStyle>
                <a:defPPr algn="l" defTabSz="914400" rtl="0" eaLnBrk="0" hangingPunct="0">
                  <a:defRPr kumimoji="0" lang="en-US" altLang="en-US"/>
                </a:defPPr>
                <a:lvl1pPr mar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800" b="0" i="0" u="none" kern="1200">
                    <a:solidFill>
                      <a:schemeClr val="tx1"/>
                    </a:solidFill>
                    <a:latin typeface="Garamond" pitchFamily="18" charset="0"/>
                    <a:ea typeface="Arial"/>
                    <a:cs typeface="Arial"/>
                  </a:defRPr>
                </a:lvl1pPr>
                <a:lvl2pPr marL="45720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800" b="0" i="0" u="none" kern="1200">
                    <a:solidFill>
                      <a:schemeClr val="tx1"/>
                    </a:solidFill>
                    <a:latin typeface="Garamond" pitchFamily="18" charset="0"/>
                    <a:ea typeface="Arial"/>
                    <a:cs typeface="Arial"/>
                  </a:defRPr>
                </a:lvl2pPr>
                <a:lvl3pPr marL="91440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800" b="0" i="0" u="none" kern="1200">
                    <a:solidFill>
                      <a:schemeClr val="tx1"/>
                    </a:solidFill>
                    <a:latin typeface="Garamond" pitchFamily="18" charset="0"/>
                    <a:ea typeface="Arial"/>
                    <a:cs typeface="Arial"/>
                  </a:defRPr>
                </a:lvl3pPr>
                <a:lvl4pPr marL="137160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800" b="0" i="0" u="none" kern="1200">
                    <a:solidFill>
                      <a:schemeClr val="tx1"/>
                    </a:solidFill>
                    <a:latin typeface="Garamond" pitchFamily="18" charset="0"/>
                    <a:ea typeface="Arial"/>
                    <a:cs typeface="Arial"/>
                  </a:defRPr>
                </a:lvl4pPr>
                <a:lvl5pPr marL="182880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 kumimoji="0" sz="1800" b="0" i="0" u="none" kern="1200">
                    <a:solidFill>
                      <a:schemeClr val="tx1"/>
                    </a:solidFill>
                    <a:latin typeface="Garamond" pitchFamily="18" charset="0"/>
                    <a:ea typeface="Arial"/>
                    <a:cs typeface="Arial"/>
                  </a:defRPr>
                </a:lvl5pPr>
                <a:lvl6pPr marL="0" algn="l" defTabSz="914400" rtl="0" eaLnBrk="0" latinLnBrk="0" hangingPunct="0">
                  <a:defRPr kumimoji="0" lang="en-US" altLang="en-US" sz="1800" kern="1200">
                    <a:solidFill>
                      <a:schemeClr val="phClr"/>
                    </a:solidFill>
                    <a:latin typeface="Arial"/>
                    <a:ea typeface="Arial"/>
                    <a:cs typeface="Arial"/>
                  </a:defRPr>
                </a:lvl6pPr>
                <a:lvl7pPr marL="0" algn="l" defTabSz="914400" rtl="0" eaLnBrk="0" latinLnBrk="0" hangingPunct="0">
                  <a:defRPr kumimoji="0" lang="en-US" altLang="en-US" sz="1800" kern="1200">
                    <a:solidFill>
                      <a:schemeClr val="phClr"/>
                    </a:solidFill>
                    <a:latin typeface="Arial"/>
                    <a:ea typeface="Arial"/>
                    <a:cs typeface="Arial"/>
                  </a:defRPr>
                </a:lvl7pPr>
                <a:lvl8pPr marL="0" algn="l" defTabSz="914400" rtl="0" eaLnBrk="0" latinLnBrk="0" hangingPunct="0">
                  <a:defRPr kumimoji="0" lang="en-US" altLang="en-US" sz="1800" kern="1200">
                    <a:solidFill>
                      <a:schemeClr val="phClr"/>
                    </a:solidFill>
                    <a:latin typeface="Arial"/>
                    <a:ea typeface="Arial"/>
                    <a:cs typeface="Arial"/>
                  </a:defRPr>
                </a:lvl8pPr>
              </a:lstStyle>
              <a:p/>
            </p:txBody>
          </p:sp>
        </p:grpSp>
        <p:pic>
          <p:nvPicPr>
            <p:cNvPr id="1036" name="Picture 9" descr="HDRibbonContent-UniformTrim.png"/>
            <p:cNvPicPr/>
            <p:nvPr/>
          </p:nvPicPr>
          <p:blipFill>
            <a:blip r:embed="rId7"/>
            <a:srcRect l="2" r="14240"/>
            <a:stretch>
              <a:fillRect/>
            </a:stretch>
          </p:blipFill>
          <p:spPr>
            <a:xfrm>
              <a:off x="0" y="3128434"/>
              <a:ext cx="685800" cy="606425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037" name="Picture 10" descr="HDRibbonContent-UniformTrim.png"/>
            <p:cNvPicPr/>
            <p:nvPr/>
          </p:nvPicPr>
          <p:blipFill>
            <a:blip r:embed="rId7"/>
            <a:srcRect l="2" r="14240"/>
            <a:stretch>
              <a:fillRect/>
            </a:stretch>
          </p:blipFill>
          <p:spPr>
            <a:xfrm>
              <a:off x="8466667" y="3128434"/>
              <a:ext cx="685800" cy="606425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</p:grpSp>
      <p:sp>
        <p:nvSpPr>
          <p:cNvPr id="1027" name="Title Placeholder 1"/>
          <p:cNvSpPr/>
          <p:nvPr>
            <p:ph type="title"/>
          </p:nvPr>
        </p:nvSpPr>
        <p:spPr>
          <a:xfrm>
            <a:off x="1176338" y="915988"/>
            <a:ext cx="6799262" cy="130333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ctr" anchorCtr="0">
            <a:noAutofit/>
          </a:bodyPr>
          <a:lstStyle>
            <a:lvl1pPr mar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4000" b="0" i="0" u="none" kern="1200" cap="none">
                <a:ln w="3175" cmpd="sng"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 lang="en-US" altLang="en-US">
                <a:solidFill>
                  <a:schemeClr val="tx2"/>
                </a:solidFill>
              </a:defRPr>
            </a:lvl2pPr>
            <a:lvl3pPr eaLnBrk="1" hangingPunct="1">
              <a:defRPr lang="en-US" altLang="en-US">
                <a:solidFill>
                  <a:schemeClr val="tx2"/>
                </a:solidFill>
              </a:defRPr>
            </a:lvl3pPr>
            <a:lvl4pPr eaLnBrk="1" hangingPunct="1">
              <a:defRPr lang="en-US" altLang="en-US">
                <a:solidFill>
                  <a:schemeClr val="tx2"/>
                </a:solidFill>
              </a:defRPr>
            </a:lvl4pPr>
            <a:lvl5pPr eaLnBrk="1" hangingPunct="1">
              <a:defRPr lang="en-US" altLang="en-US">
                <a:solidFill>
                  <a:schemeClr val="tx2"/>
                </a:solidFill>
              </a:defRPr>
            </a:lvl5pPr>
            <a:lvl6pPr eaLnBrk="1" hangingPunct="1">
              <a:defRPr lang="en-US" altLang="en-US">
                <a:solidFill>
                  <a:schemeClr val="tx2"/>
                </a:solidFill>
              </a:defRPr>
            </a:lvl6pPr>
            <a:lvl7pPr eaLnBrk="1" hangingPunct="1">
              <a:defRPr lang="en-US" altLang="en-US">
                <a:solidFill>
                  <a:schemeClr val="tx2"/>
                </a:solidFill>
              </a:defRPr>
            </a:lvl7pPr>
            <a:lvl8pPr eaLnBrk="1" hangingPunct="1">
              <a:defRPr lang="en-US" altLang="en-US">
                <a:solidFill>
                  <a:schemeClr val="tx2"/>
                </a:solidFill>
              </a:defRPr>
            </a:lvl8pPr>
            <a:lvl9pPr eaLnBrk="1" hangingPunct="1">
              <a:defRPr lang="en-US" altLang="en-US">
                <a:solidFill>
                  <a:schemeClr val="tx2"/>
                </a:solidFill>
              </a:defRPr>
            </a:lvl9pPr>
          </a:lstStyle>
          <a:p>
            <a:pPr lvl="0"/>
            <a:r>
              <a:t>单击此处编辑母版标题样式</a:t>
            </a:r>
          </a:p>
        </p:txBody>
      </p:sp>
      <p:sp>
        <p:nvSpPr>
          <p:cNvPr id="1028" name="Text Placeholder 2"/>
          <p:cNvSpPr/>
          <p:nvPr>
            <p:ph type="body" idx="1"/>
          </p:nvPr>
        </p:nvSpPr>
        <p:spPr>
          <a:xfrm>
            <a:off x="1176338" y="2490788"/>
            <a:ext cx="6799262" cy="3444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noAutofit/>
          </a:bodyPr>
          <a:lstStyle>
            <a:lvl1pPr marL="285750" indent="-2857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kumimoji="0" lang="en-US" altLang="en-US" sz="2400" b="0" i="0" u="none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kumimoji="0" lang="en-US" altLang="en-US" sz="2000" b="0" i="0" u="none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kumimoji="0" lang="en-US" altLang="en-US" sz="1800" b="0" i="0" u="none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kumimoji="0" lang="en-US" altLang="en-US" sz="1600" b="0" i="0" u="none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kumimoji="0" lang="en-US" altLang="en-US" sz="1400" b="0" i="0" u="none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lang="en-US" altLang="en-US" sz="1400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lang="en-US" altLang="en-US" sz="1400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lang="en-US" altLang="en-US" sz="1400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15000"/>
              <a:buFont typeface="Arial"/>
              <a:buChar char="•"/>
              <a:defRPr lang="en-US" altLang="en-US" sz="1400" kern="1200" cap="none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t>单击此处编辑母版文本样式</a:t>
            </a:r>
          </a:p>
          <a:p>
            <a:pPr lvl="1"/>
            <a:r>
              <a:t>二级</a:t>
            </a:r>
          </a:p>
          <a:p>
            <a:pPr lvl="2"/>
            <a:r>
              <a:t>三级</a:t>
            </a:r>
          </a:p>
          <a:p>
            <a:pPr lvl="3"/>
            <a:r>
              <a:t>四级</a:t>
            </a:r>
          </a:p>
          <a:p>
            <a:pPr lvl="4"/>
            <a:r>
              <a:t>五级</a:t>
            </a:r>
          </a:p>
        </p:txBody>
      </p:sp>
      <p:sp>
        <p:nvSpPr>
          <p:cNvPr id="1029" name="Date Placeholder 3"/>
          <p:cNvSpPr>
            <a:spLocks noGrp="1"/>
          </p:cNvSpPr>
          <p:nvPr>
            <p:ph type="dt" sz="half" idx="2"/>
          </p:nvPr>
        </p:nvSpPr>
        <p:spPr>
          <a:xfrm>
            <a:off x="6356670" y="5960533"/>
            <a:ext cx="1148283" cy="279400"/>
          </a:xfrm>
          <a:prstGeom prst="rect">
            <a:avLst/>
          </a:prstGeom>
        </p:spPr>
        <p:txBody>
          <a:bodyPr rtlCol="0" anchor="ctr" anchorCtr="0">
            <a:noAutofit/>
          </a:bodyPr>
          <a:lstStyle>
            <a:defPPr algn="l" defTabSz="914400" rtl="0" eaLnBrk="0" hangingPunct="0">
              <a:defRPr kumimoji="0" lang="en-US" altLang="en-US"/>
            </a:defPPr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/>
            <a:endParaRPr lang="en-US" altLang="zh-CN" sz="1000">
              <a:ea typeface="方正舒体"/>
            </a:endParaRPr>
          </a:p>
        </p:txBody>
      </p:sp>
      <p:sp>
        <p:nvSpPr>
          <p:cNvPr id="103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76865" y="5960533"/>
            <a:ext cx="5104667" cy="279400"/>
          </a:xfrm>
          <a:prstGeom prst="rect">
            <a:avLst/>
          </a:prstGeom>
        </p:spPr>
        <p:txBody>
          <a:bodyPr rtlCol="0" anchor="ctr" anchorCtr="0">
            <a:noAutofit/>
          </a:bodyPr>
          <a:lstStyle>
            <a:defPPr algn="l" defTabSz="914400" rtl="0" eaLnBrk="0" hangingPunct="0">
              <a:defRPr kumimoji="0" lang="en-US" altLang="en-US"/>
            </a:defPPr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/>
            <a:endParaRPr lang="en-US" altLang="zh-CN" sz="1000">
              <a:ea typeface="方正舒体"/>
            </a:endParaRPr>
          </a:p>
        </p:txBody>
      </p:sp>
      <p:sp>
        <p:nvSpPr>
          <p:cNvPr id="103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0091" y="5960533"/>
            <a:ext cx="395510" cy="279400"/>
          </a:xfrm>
          <a:prstGeom prst="rect">
            <a:avLst/>
          </a:prstGeom>
        </p:spPr>
        <p:txBody>
          <a:bodyPr rtlCol="0" anchor="ctr" anchorCtr="0">
            <a:noAutofit/>
          </a:bodyPr>
          <a:lstStyle>
            <a:defPPr algn="l" defTabSz="914400" rtl="0" eaLnBrk="0" hangingPunct="0">
              <a:defRPr kumimoji="0" lang="en-US" altLang="en-US"/>
            </a:defPPr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0"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/>
            <a:fld id="{24F08A3D-B40D-4300-8237-5D9A1EEED4BB}" type="slidenum">
              <a:rPr lang="en-US" altLang="zh-CN" sz="1000">
                <a:ea typeface="方正舒体"/>
              </a:rPr>
              <a:t>*</a:t>
            </a:fld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812" r:id="rId2"/>
    <p:sldLayoutId id="2147483814" r:id="rId3"/>
    <p:sldLayoutId id="2147483815" r:id="rId4"/>
  </p:sldLayoutIdLst>
  <p:transition/>
  <p:timing/>
  <p:txStyles>
    <p:titleStyle>
      <a:lvl1pPr marL="0" indent="0" algn="ctr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000" b="0" i="0" u="none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kumimoji="0" sz="2400" b="0" i="0" u="none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kumimoji="0" sz="2000" b="0" i="0" u="none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kumimoji="0" sz="1800" b="0" i="0" u="none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kumimoji="0" sz="1600" b="0" i="0" u="none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fontAlgn="base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kumimoji="0" sz="1400" b="0" i="0" u="none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image" Target="../media/image6.png" /><Relationship Id="rId3" Type="http://schemas.openxmlformats.org/officeDocument/2006/relationships/image" Target="../media/image7.png" /><Relationship Id="rId4" Type="http://schemas.openxmlformats.org/officeDocument/2006/relationships/image" Target="../media/image8.png" /><Relationship Id="rId5" Type="http://schemas.openxmlformats.org/officeDocument/2006/relationships/image" Target="../media/image9.png" /><Relationship Id="rId6" Type="http://schemas.openxmlformats.org/officeDocument/2006/relationships/image" Target="../media/image10.png" /><Relationship Id="rId7" Type="http://schemas.openxmlformats.org/officeDocument/2006/relationships/image" Target="../media/image11.png" /></Relationships>
</file>

<file path=ppt/slides/_rels/slide1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32.emf" /><Relationship Id="rId4" Type="http://schemas.microsoft.com/office/2007/relationships/diagramDrawing" Target="../diagrams/drawing1.xml" /><Relationship Id="rId5" Type="http://schemas.openxmlformats.org/officeDocument/2006/relationships/diagramData" Target="../diagrams/data1.xml" /><Relationship Id="rId6" Type="http://schemas.openxmlformats.org/officeDocument/2006/relationships/diagramLayout" Target="../diagrams/layout1.xml" /><Relationship Id="rId7" Type="http://schemas.openxmlformats.org/officeDocument/2006/relationships/diagramQuickStyle" Target="../diagrams/quickStyle1.xml" /><Relationship Id="rId8" Type="http://schemas.openxmlformats.org/officeDocument/2006/relationships/diagramColors" Target="../diagrams/colors1.xml" /><Relationship Id="rId9" Type="http://schemas.openxmlformats.org/officeDocument/2006/relationships/image" Target="../media/image26.png" /></Relationships>
</file>

<file path=ppt/slides/_rels/slide1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33.emf" /><Relationship Id="rId4" Type="http://schemas.openxmlformats.org/officeDocument/2006/relationships/image" Target="../media/image26.png" /></Relationships>
</file>

<file path=ppt/slides/_rels/slide1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6.png" /></Relationships>
</file>

<file path=ppt/slides/_rels/slide1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image" Target="../media/image6.png" /><Relationship Id="rId3" Type="http://schemas.openxmlformats.org/officeDocument/2006/relationships/image" Target="../media/image7.png" /><Relationship Id="rId4" Type="http://schemas.openxmlformats.org/officeDocument/2006/relationships/image" Target="../media/image8.png" /><Relationship Id="rId5" Type="http://schemas.openxmlformats.org/officeDocument/2006/relationships/image" Target="../media/image9.png" /><Relationship Id="rId6" Type="http://schemas.openxmlformats.org/officeDocument/2006/relationships/image" Target="../media/image10.png" /><Relationship Id="rId7" Type="http://schemas.openxmlformats.org/officeDocument/2006/relationships/image" Target="../media/image11.png" /></Relationships>
</file>

<file path=ppt/slides/_rels/slide1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2.emf" /><Relationship Id="rId3" Type="http://schemas.openxmlformats.org/officeDocument/2006/relationships/image" Target="../media/image10.png" /><Relationship Id="rId4" Type="http://schemas.openxmlformats.org/officeDocument/2006/relationships/image" Target="../media/image11.png" /><Relationship Id="rId5" Type="http://schemas.openxmlformats.org/officeDocument/2006/relationships/slide" Target="slide3.xml" TargetMode="Internal" /><Relationship Id="rId6" Type="http://schemas.openxmlformats.org/officeDocument/2006/relationships/slide" Target="slide6.xml" TargetMode="Internal" /><Relationship Id="rId7" Type="http://schemas.openxmlformats.org/officeDocument/2006/relationships/slide" Target="slide5.xml" TargetMode="Internal" /><Relationship Id="rId8" Type="http://schemas.openxmlformats.org/officeDocument/2006/relationships/slide" Target="slide11.xml" TargetMode="Internal" /><Relationship Id="rId9" Type="http://schemas.openxmlformats.org/officeDocument/2006/relationships/slide" Target="slide12.xml" TargetMode="Interna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10" Type="http://schemas.openxmlformats.org/officeDocument/2006/relationships/image" Target="../media/image18.wmf" /><Relationship Id="rId11" Type="http://schemas.openxmlformats.org/officeDocument/2006/relationships/image" Target="../media/image19.png" /><Relationship Id="rId12" Type="http://schemas.openxmlformats.org/officeDocument/2006/relationships/image" Target="../media/image20.png" /><Relationship Id="rId13" Type="http://schemas.openxmlformats.org/officeDocument/2006/relationships/image" Target="../media/image21.jpeg" /><Relationship Id="rId14" Type="http://schemas.openxmlformats.org/officeDocument/2006/relationships/vmlDrawing" Target="../drawings/vmlDrawing1.vml" /><Relationship Id="rId2" Type="http://schemas.openxmlformats.org/officeDocument/2006/relationships/image" Target="../media/image13.jpeg" /><Relationship Id="rId3" Type="http://schemas.openxmlformats.org/officeDocument/2006/relationships/image" Target="../media/image14.emf" /><Relationship Id="rId4" Type="http://schemas.openxmlformats.org/officeDocument/2006/relationships/image" Target="../media/image15.emf" /><Relationship Id="rId5" Type="http://schemas.openxmlformats.org/officeDocument/2006/relationships/oleObject" Target="../embeddings/oleObject1.bin" TargetMode="Internal" /><Relationship Id="rId6" Type="http://schemas.openxmlformats.org/officeDocument/2006/relationships/image" Target="../media/image16.emf" /><Relationship Id="rId7" Type="http://schemas.openxmlformats.org/officeDocument/2006/relationships/oleObject" Target="../embeddings/oleObject2.bin" TargetMode="Internal" /><Relationship Id="rId8" Type="http://schemas.openxmlformats.org/officeDocument/2006/relationships/image" Target="../media/image17.emf" /><Relationship Id="rId9" Type="http://schemas.openxmlformats.org/officeDocument/2006/relationships/oleObject" Target="../embeddings/oleObject3.bin" TargetMode="Interna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tags" Target="../tags/tag1.xml" /><Relationship Id="rId4" Type="http://schemas.openxmlformats.org/officeDocument/2006/relationships/tags" Target="../tags/tag2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2.png" /><Relationship Id="rId4" Type="http://schemas.openxmlformats.org/officeDocument/2006/relationships/image" Target="../media/image23.png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4.png" /><Relationship Id="rId4" Type="http://schemas.openxmlformats.org/officeDocument/2006/relationships/image" Target="../media/image25.png" /><Relationship Id="rId5" Type="http://schemas.openxmlformats.org/officeDocument/2006/relationships/image" Target="../media/image26.png" /><Relationship Id="rId6" Type="http://schemas.openxmlformats.org/officeDocument/2006/relationships/image" Target="../media/image27.png" /></Relationships>
</file>

<file path=ppt/slides/_rels/slide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8.png" /><Relationship Id="rId4" Type="http://schemas.openxmlformats.org/officeDocument/2006/relationships/image" Target="../media/image27.png" /><Relationship Id="rId5" Type="http://schemas.openxmlformats.org/officeDocument/2006/relationships/image" Target="../media/image29.png" /><Relationship Id="rId6" Type="http://schemas.openxmlformats.org/officeDocument/2006/relationships/image" Target="../media/image30.png" /></Relationships>
</file>

<file path=ppt/slides/_rels/slide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2.png" /><Relationship Id="rId4" Type="http://schemas.openxmlformats.org/officeDocument/2006/relationships/image" Target="../media/image26.png" /></Relationships>
</file>

<file path=ppt/slides/_rels/slide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14.emf" /><Relationship Id="rId3" Type="http://schemas.openxmlformats.org/officeDocument/2006/relationships/image" Target="../media/image27.png" /><Relationship Id="rId4" Type="http://schemas.openxmlformats.org/officeDocument/2006/relationships/image" Target="../media/image31.png" /><Relationship Id="rId5" Type="http://schemas.openxmlformats.org/officeDocument/2006/relationships/image" Target="../media/image26.png" /><Relationship Id="rId6" Type="http://schemas.openxmlformats.org/officeDocument/2006/relationships/tags" Target="../tags/tag3.xml" /><Relationship Id="rId7" Type="http://schemas.openxmlformats.org/officeDocument/2006/relationships/tags" Target="../tags/tag4.xml" /></Relationships>
</file>

<file path=ppt/slides/slide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/>
          <a:stretch>
            <a:fillRect/>
          </a:stretch>
        </p:blipFill>
        <p:spPr>
          <a:xfrm>
            <a:off x="-105042" y="208635"/>
            <a:ext cx="12297042" cy="595915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2" b="0"/>
          <a:stretch>
            <a:fillRect/>
          </a:stretch>
        </p:blipFill>
        <p:spPr>
          <a:xfrm>
            <a:off x="0" y="3429000"/>
            <a:ext cx="12192000" cy="35520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 b="22462"/>
          <a:stretch>
            <a:fillRect/>
          </a:stretch>
        </p:blipFill>
        <p:spPr>
          <a:xfrm>
            <a:off x="0" y="1110455"/>
            <a:ext cx="12192000" cy="4108660"/>
          </a:xfrm>
          <a:prstGeom prst="rect">
            <a:avLst/>
          </a:prstGeom>
        </p:spPr>
      </p:pic>
      <p:cxnSp>
        <p:nvCxnSpPr>
          <p:cNvPr id="8" name="直接连接符 7"/>
          <p:cNvCxnSpPr/>
          <p:nvPr/>
        </p:nvCxnSpPr>
        <p:spPr>
          <a:xfrm>
            <a:off x="898322" y="2269334"/>
            <a:ext cx="85621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3471216" y="2381678"/>
            <a:ext cx="3030708" cy="5186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charset="-122"/>
              </a:rPr>
              <a:t>创意太阳能电动伞</a:t>
            </a:r>
            <a:endParaRPr lang="zh-CN" altLang="en-US" sz="2800" b="1">
              <a:effectLst>
                <a:outerShdw blurRad="38100" dist="38100" dir="2700000" algn="tl">
                  <a:srgbClr val="C0C0C0"/>
                </a:outerShdw>
              </a:effectLst>
              <a:ea typeface="宋体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793572" y="2768818"/>
            <a:ext cx="4267090" cy="403545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73881" y="3764338"/>
            <a:ext cx="729800" cy="729801"/>
          </a:xfrm>
          <a:prstGeom prst="rect">
            <a:avLst/>
          </a:prstGeom>
        </p:spPr>
      </p:pic>
      <p:sp>
        <p:nvSpPr>
          <p:cNvPr id="11" name="灯片编号占位符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1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ea typeface="宋体" charset="-122"/>
              </a:rPr>
              <a:t>ppt课件.</a:t>
            </a:r>
            <a:endParaRPr lang="zh-CN" altLang="en-US"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48617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3" presetClass="entr" presetSubtype="0" fill="hold" grpId="0" nodeType="withEffect"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1" fill="hold" nodeType="withEffect"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6" presetClass="emph" presetSubtype="0" repeatCount="indefinite" fill="hold" nodeType="withEffect"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61935" y="770981"/>
            <a:ext cx="1144461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Forth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561136" y="3613436"/>
            <a:ext cx="1037444" cy="366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微软雅黑" pitchFamily="34" charset="-122"/>
                <a:ea typeface="宋体" charset="-122"/>
              </a:rPr>
              <a:t>定目标 </a:t>
            </a: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0527574" y="3090111"/>
            <a:ext cx="1231254" cy="3706014"/>
          </a:xfrm>
          <a:prstGeom prst="rect">
            <a:avLst/>
          </a:prstGeom>
        </p:spPr>
      </p:pic>
      <p:sp>
        <p:nvSpPr>
          <p:cNvPr id="128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34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35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36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37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aphicFrame>
        <p:nvGraphicFramePr>
          <p:cNvPr id="139" name="图示 138"/>
          <p:cNvGraphicFramePr/>
          <p:nvPr>
            <p:extLst>
              <p:ext uri="{D42A27DB-BD31-4B8C-83A1-F6EECF244321}">
                <p14:modId xmlns:p14="http://schemas.microsoft.com/office/powerpoint/2010/main" val="3130943154"/>
              </p:ext>
            </p:extLst>
          </p:nvPr>
        </p:nvGraphicFramePr>
        <p:xfrm>
          <a:off x="3694235" y="2337945"/>
          <a:ext cx="5274310" cy="1189355"/>
        </p:xfrm>
        <a:graphic>
          <a:graphicData uri="http://schemas.openxmlformats.org/drawingml/2006/diagram">
            <dgm:relIds xmlns:dgm="http://schemas.openxmlformats.org/drawingml/2006/diagram" r:dm="rId5" r:lo="rId6" r:qs="rId7" r:cs="rId8"/>
          </a:graphicData>
        </a:graphic>
      </p:graphicFrame>
      <p:grpSp>
        <p:nvGrpSpPr>
          <p:cNvPr id="140" name="组合 139"/>
          <p:cNvGrpSpPr/>
          <p:nvPr/>
        </p:nvGrpSpPr>
        <p:grpSpPr>
          <a:xfrm>
            <a:off x="1679463" y="436214"/>
            <a:ext cx="3848050" cy="1173139"/>
            <a:chOff x="2891924" y="507273"/>
            <a:chExt cx="3848050" cy="1173139"/>
          </a:xfrm>
        </p:grpSpPr>
        <p:pic>
          <p:nvPicPr>
            <p:cNvPr id="161" name="图片 16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68" name="矩形 167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经营管理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69" name="组合 168"/>
          <p:cNvGrpSpPr/>
          <p:nvPr/>
        </p:nvGrpSpPr>
        <p:grpSpPr>
          <a:xfrm>
            <a:off x="2376251" y="2522444"/>
            <a:ext cx="1569660" cy="1421572"/>
            <a:chOff x="1823929" y="2053362"/>
            <a:chExt cx="1569660" cy="1421572"/>
          </a:xfrm>
        </p:grpSpPr>
        <p:grpSp>
          <p:nvGrpSpPr>
            <p:cNvPr id="170" name="组合 169"/>
            <p:cNvGrpSpPr/>
            <p:nvPr/>
          </p:nvGrpSpPr>
          <p:grpSpPr>
            <a:xfrm flipH="1">
              <a:off x="1852680" y="2053362"/>
              <a:ext cx="1444390" cy="1421572"/>
              <a:chOff x="1509522" y="1268760"/>
              <a:chExt cx="2414406" cy="2376264"/>
            </a:xfrm>
          </p:grpSpPr>
          <p:sp>
            <p:nvSpPr>
              <p:cNvPr id="172" name="椭圆 171"/>
              <p:cNvSpPr/>
              <p:nvPr/>
            </p:nvSpPr>
            <p:spPr>
              <a:xfrm>
                <a:off x="1547664" y="1268760"/>
                <a:ext cx="2376264" cy="2376264"/>
              </a:xfrm>
              <a:prstGeom prst="ellipse">
                <a:avLst/>
              </a:prstGeom>
              <a:solidFill>
                <a:srgbClr val="0F91E1"/>
              </a:solidFill>
              <a:ln w="25400" cap="flat" cmpd="sng" algn="ctr">
                <a:solidFill>
                  <a:srgbClr val="0C74B4"/>
                </a:solidFill>
                <a:prstDash val="solid"/>
              </a:ln>
              <a:effectLst>
                <a:outerShdw blurRad="762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73" name="矩形 172"/>
              <p:cNvSpPr/>
              <p:nvPr/>
            </p:nvSpPr>
            <p:spPr>
              <a:xfrm>
                <a:off x="1509522" y="2234454"/>
                <a:ext cx="648072" cy="504056"/>
              </a:xfrm>
              <a:prstGeom prst="rect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74" name="椭圆 173"/>
              <p:cNvSpPr/>
              <p:nvPr/>
            </p:nvSpPr>
            <p:spPr>
              <a:xfrm>
                <a:off x="1699153" y="1410939"/>
                <a:ext cx="2091448" cy="2091447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75" name="等腰三角形 174"/>
              <p:cNvSpPr/>
              <p:nvPr/>
            </p:nvSpPr>
            <p:spPr>
              <a:xfrm rot="5400000">
                <a:off x="1644501" y="2362120"/>
                <a:ext cx="294348" cy="253097"/>
              </a:xfrm>
              <a:prstGeom prst="triangle">
                <a:avLst/>
              </a:prstGeom>
              <a:solidFill>
                <a:srgbClr val="0F91E1"/>
              </a:solidFill>
              <a:ln w="25400" cap="flat" cmpd="sng" algn="ctr">
                <a:solidFill>
                  <a:srgbClr val="0C74B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</p:grpSp>
        <p:sp>
          <p:nvSpPr>
            <p:cNvPr id="171" name="矩形 170"/>
            <p:cNvSpPr/>
            <p:nvPr/>
          </p:nvSpPr>
          <p:spPr>
            <a:xfrm>
              <a:off x="1823929" y="2575489"/>
              <a:ext cx="1556034" cy="366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组织结构</a:t>
              </a: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b="1"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2417772" y="4465441"/>
            <a:ext cx="1569660" cy="1421572"/>
            <a:chOff x="1823929" y="2053362"/>
            <a:chExt cx="1569660" cy="1421572"/>
          </a:xfrm>
        </p:grpSpPr>
        <p:grpSp>
          <p:nvGrpSpPr>
            <p:cNvPr id="177" name="组合 176"/>
            <p:cNvGrpSpPr/>
            <p:nvPr/>
          </p:nvGrpSpPr>
          <p:grpSpPr>
            <a:xfrm flipH="1">
              <a:off x="1852680" y="2053362"/>
              <a:ext cx="1444390" cy="1421572"/>
              <a:chOff x="1509522" y="1268760"/>
              <a:chExt cx="2414406" cy="2376264"/>
            </a:xfrm>
          </p:grpSpPr>
          <p:sp>
            <p:nvSpPr>
              <p:cNvPr id="179" name="椭圆 178"/>
              <p:cNvSpPr/>
              <p:nvPr/>
            </p:nvSpPr>
            <p:spPr>
              <a:xfrm>
                <a:off x="1547664" y="1268760"/>
                <a:ext cx="2376264" cy="2376264"/>
              </a:xfrm>
              <a:prstGeom prst="ellipse">
                <a:avLst/>
              </a:prstGeom>
              <a:solidFill>
                <a:srgbClr val="0F91E1"/>
              </a:solidFill>
              <a:ln w="25400" cap="flat" cmpd="sng" algn="ctr">
                <a:solidFill>
                  <a:srgbClr val="0C74B4"/>
                </a:solidFill>
                <a:prstDash val="solid"/>
              </a:ln>
              <a:effectLst>
                <a:outerShdw blurRad="762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80" name="矩形 179"/>
              <p:cNvSpPr/>
              <p:nvPr/>
            </p:nvSpPr>
            <p:spPr>
              <a:xfrm>
                <a:off x="1509522" y="2234454"/>
                <a:ext cx="648072" cy="504056"/>
              </a:xfrm>
              <a:prstGeom prst="rect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81" name="椭圆 180"/>
              <p:cNvSpPr/>
              <p:nvPr/>
            </p:nvSpPr>
            <p:spPr>
              <a:xfrm>
                <a:off x="1699153" y="1410939"/>
                <a:ext cx="2091448" cy="2091447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82" name="等腰三角形 181"/>
              <p:cNvSpPr/>
              <p:nvPr/>
            </p:nvSpPr>
            <p:spPr>
              <a:xfrm rot="5400000">
                <a:off x="1644501" y="2362120"/>
                <a:ext cx="294348" cy="253097"/>
              </a:xfrm>
              <a:prstGeom prst="triangle">
                <a:avLst/>
              </a:prstGeom>
              <a:solidFill>
                <a:srgbClr val="0F91E1"/>
              </a:solidFill>
              <a:ln w="25400" cap="flat" cmpd="sng" algn="ctr">
                <a:solidFill>
                  <a:srgbClr val="0C74B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</p:grpSp>
        <p:sp>
          <p:nvSpPr>
            <p:cNvPr id="178" name="矩形 177"/>
            <p:cNvSpPr/>
            <p:nvPr/>
          </p:nvSpPr>
          <p:spPr>
            <a:xfrm>
              <a:off x="1823929" y="2575489"/>
              <a:ext cx="1556034" cy="366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人员介绍</a:t>
              </a: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b="1"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2" name="矩形 1"/>
          <p:cNvSpPr/>
          <p:nvPr/>
        </p:nvSpPr>
        <p:spPr>
          <a:xfrm>
            <a:off x="3945911" y="4832111"/>
            <a:ext cx="5237926" cy="8237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郭豪雅   樊炳楠  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张文婷 </a:t>
            </a: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 梁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锦军 </a:t>
            </a: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 何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任杰 田琪 </a:t>
            </a: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  彭丽媛  罗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永泽</a:t>
            </a:r>
          </a:p>
        </p:txBody>
      </p:sp>
      <p:sp>
        <p:nvSpPr>
          <p:cNvPr id="96" name="灯片编号占位符 9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10</a:t>
            </a:fld>
            <a:endParaRPr lang="zh-CN" altLang="en-US">
              <a:ea typeface="宋体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3350888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8" fill="hold" nodeType="withEffect"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nodeType="withEffect"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31794" y="770981"/>
            <a:ext cx="1009388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Fifth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48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49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50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51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52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53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26719" y="716798"/>
            <a:ext cx="6148388" cy="5929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" name="直接连接符 11"/>
          <p:cNvCxnSpPr/>
          <p:nvPr/>
        </p:nvCxnSpPr>
        <p:spPr>
          <a:xfrm flipH="1">
            <a:off x="8175107" y="739903"/>
            <a:ext cx="0" cy="57284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组合 145"/>
          <p:cNvGrpSpPr/>
          <p:nvPr/>
        </p:nvGrpSpPr>
        <p:grpSpPr>
          <a:xfrm>
            <a:off x="7926354" y="372220"/>
            <a:ext cx="3848050" cy="1173139"/>
            <a:chOff x="2891924" y="507273"/>
            <a:chExt cx="3848050" cy="1173139"/>
          </a:xfrm>
        </p:grpSpPr>
        <p:pic>
          <p:nvPicPr>
            <p:cNvPr id="147" name="图片 14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54" name="矩形 153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财务分析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89" name="灯片编号占位符 8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11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3383987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95502" y="770981"/>
            <a:ext cx="1088843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Sixth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9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0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1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2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03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04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2590606" y="770981"/>
            <a:ext cx="658522" cy="459298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smtClean="0">
                <a:ea typeface="宋体" charset="-122"/>
              </a:rPr>
              <a:t>1</a:t>
            </a:r>
            <a:endParaRPr lang="zh-CN" altLang="en-US" sz="2400" b="1">
              <a:ea typeface="宋体" charset="-122"/>
            </a:endParaRPr>
          </a:p>
        </p:txBody>
      </p:sp>
      <p:sp>
        <p:nvSpPr>
          <p:cNvPr id="107" name="矩形 106"/>
          <p:cNvSpPr/>
          <p:nvPr/>
        </p:nvSpPr>
        <p:spPr>
          <a:xfrm>
            <a:off x="4423309" y="770981"/>
            <a:ext cx="658522" cy="459298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>
                <a:ea typeface="宋体" charset="-122"/>
              </a:rPr>
              <a:t>2</a:t>
            </a:r>
            <a:endParaRPr lang="zh-CN" altLang="en-US" sz="2400" b="1">
              <a:ea typeface="宋体" charset="-122"/>
            </a:endParaRPr>
          </a:p>
        </p:txBody>
      </p:sp>
      <p:sp>
        <p:nvSpPr>
          <p:cNvPr id="108" name="矩形 107"/>
          <p:cNvSpPr/>
          <p:nvPr/>
        </p:nvSpPr>
        <p:spPr>
          <a:xfrm>
            <a:off x="5901046" y="770981"/>
            <a:ext cx="658522" cy="459298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>
                <a:ea typeface="宋体" charset="-122"/>
              </a:rPr>
              <a:t>3</a:t>
            </a:r>
            <a:endParaRPr lang="zh-CN" altLang="en-US" sz="2400" b="1">
              <a:ea typeface="宋体" charset="-122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7691994" y="770981"/>
            <a:ext cx="658522" cy="459298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>
                <a:ea typeface="宋体" charset="-122"/>
              </a:rPr>
              <a:t>4</a:t>
            </a:r>
            <a:endParaRPr lang="zh-CN" altLang="en-US" sz="2400" b="1">
              <a:ea typeface="宋体" charset="-122"/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9220646" y="770981"/>
            <a:ext cx="658522" cy="459298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>
                <a:ea typeface="宋体" charset="-122"/>
              </a:rPr>
              <a:t>5</a:t>
            </a:r>
            <a:endParaRPr lang="zh-CN" altLang="en-US" sz="2400" b="1">
              <a:ea typeface="宋体" charset="-122"/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2590606" y="1234453"/>
            <a:ext cx="682865" cy="29505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zh-CN" altLang="en-US" sz="2000">
                <a:latin typeface="微软雅黑" pitchFamily="34" charset="-122"/>
                <a:ea typeface="宋体" charset="-122"/>
              </a:rPr>
              <a:t>法律风险及规避方案</a:t>
            </a:r>
          </a:p>
        </p:txBody>
      </p:sp>
      <p:sp>
        <p:nvSpPr>
          <p:cNvPr id="112" name="矩形 111"/>
          <p:cNvSpPr/>
          <p:nvPr/>
        </p:nvSpPr>
        <p:spPr>
          <a:xfrm>
            <a:off x="4423309" y="1223259"/>
            <a:ext cx="682865" cy="29505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zh-CN" altLang="en-US" sz="2000">
                <a:latin typeface="微软雅黑" pitchFamily="34" charset="-122"/>
                <a:ea typeface="宋体" charset="-122"/>
              </a:rPr>
              <a:t>社会文化风险及规避方案</a:t>
            </a:r>
          </a:p>
        </p:txBody>
      </p:sp>
      <p:sp>
        <p:nvSpPr>
          <p:cNvPr id="113" name="矩形 112"/>
          <p:cNvSpPr/>
          <p:nvPr/>
        </p:nvSpPr>
        <p:spPr>
          <a:xfrm>
            <a:off x="5873052" y="1223259"/>
            <a:ext cx="682865" cy="29505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zh-CN" altLang="en-US" sz="2000">
                <a:latin typeface="微软雅黑" pitchFamily="34" charset="-122"/>
                <a:ea typeface="宋体" charset="-122"/>
              </a:rPr>
              <a:t>市场风险及规避方案</a:t>
            </a:r>
          </a:p>
        </p:txBody>
      </p:sp>
      <p:sp>
        <p:nvSpPr>
          <p:cNvPr id="114" name="矩形 113"/>
          <p:cNvSpPr/>
          <p:nvPr/>
        </p:nvSpPr>
        <p:spPr>
          <a:xfrm>
            <a:off x="7691994" y="1206408"/>
            <a:ext cx="682865" cy="29505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zh-CN" altLang="en-US" sz="2000">
                <a:latin typeface="微软雅黑" pitchFamily="34" charset="-122"/>
                <a:ea typeface="宋体" charset="-122"/>
              </a:rPr>
              <a:t>操作风险及规避方案</a:t>
            </a:r>
          </a:p>
        </p:txBody>
      </p:sp>
      <p:sp>
        <p:nvSpPr>
          <p:cNvPr id="115" name="矩形 114"/>
          <p:cNvSpPr/>
          <p:nvPr/>
        </p:nvSpPr>
        <p:spPr>
          <a:xfrm>
            <a:off x="9208474" y="1230279"/>
            <a:ext cx="682865" cy="295050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zh-CN" altLang="en-US" sz="2000">
                <a:latin typeface="微软雅黑" pitchFamily="34" charset="-122"/>
                <a:ea typeface="宋体" charset="-122"/>
              </a:rPr>
              <a:t>财务风险及规避方案</a:t>
            </a:r>
          </a:p>
        </p:txBody>
      </p:sp>
      <p:grpSp>
        <p:nvGrpSpPr>
          <p:cNvPr id="90" name="组合 89"/>
          <p:cNvGrpSpPr/>
          <p:nvPr/>
        </p:nvGrpSpPr>
        <p:grpSpPr>
          <a:xfrm>
            <a:off x="7039114" y="4814941"/>
            <a:ext cx="3848050" cy="1173139"/>
            <a:chOff x="2891924" y="507273"/>
            <a:chExt cx="3848050" cy="1173139"/>
          </a:xfrm>
        </p:grpSpPr>
        <p:pic>
          <p:nvPicPr>
            <p:cNvPr id="91" name="图片 9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92" name="矩形 91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风险管理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89" name="灯片编号占位符 8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12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2856287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53" presetClass="entr" presetSubtype="0" fill="hold" grpId="1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0" fill="hold" grpId="2" nodeType="withEffect"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0" fill="hold" grpId="3" nodeType="withEffect"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0" fill="hold" grpId="4" nodeType="withEffect"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0" fill="hold" grpId="5" nodeType="withEffect"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grpId="6" nodeType="withEffect"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grpId="7" nodeType="withEffect"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4" fill="hold" grpId="8" nodeType="withEffect"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4" fill="hold" grpId="9" nodeType="withEffect"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4" fill="hold" grpId="10" nodeType="withEffect"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/>
      <p:bldP spid="106" grpId="1"/>
      <p:bldP spid="107" grpId="2"/>
      <p:bldP spid="108" grpId="3"/>
      <p:bldP spid="109" grpId="4"/>
      <p:bldP spid="110" grpId="5"/>
      <p:bldP spid="111" grpId="6"/>
      <p:bldP spid="112" grpId="7"/>
      <p:bldP spid="113" grpId="8"/>
      <p:bldP spid="114" grpId="9"/>
      <p:bldP spid="115" grpId="1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/>
          <a:stretch>
            <a:fillRect/>
          </a:stretch>
        </p:blipFill>
        <p:spPr>
          <a:xfrm>
            <a:off x="-105042" y="208635"/>
            <a:ext cx="12297042" cy="595915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2" b="0"/>
          <a:stretch>
            <a:fillRect/>
          </a:stretch>
        </p:blipFill>
        <p:spPr>
          <a:xfrm>
            <a:off x="0" y="3404381"/>
            <a:ext cx="12192000" cy="35520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6" b="22462"/>
          <a:stretch>
            <a:fillRect/>
          </a:stretch>
        </p:blipFill>
        <p:spPr>
          <a:xfrm>
            <a:off x="0" y="1110455"/>
            <a:ext cx="12192000" cy="410866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793572" y="2768818"/>
            <a:ext cx="4267090" cy="403545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73881" y="3764338"/>
            <a:ext cx="729800" cy="729801"/>
          </a:xfrm>
          <a:prstGeom prst="rect">
            <a:avLst/>
          </a:prstGeom>
        </p:spPr>
      </p:pic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-96711" y="798952"/>
            <a:ext cx="10552174" cy="1433993"/>
          </a:xfrm>
          <a:prstGeom prst="rect">
            <a:avLst/>
          </a:prstGeom>
          <a:noFill/>
          <a:ln w="9525">
            <a:noFill/>
            <a:miter lim="800000"/>
          </a:ln>
          <a:effectLst>
            <a:outerShdw dist="35921" dir="2700000" algn="ctr" rotWithShape="0">
              <a:srgbClr val="040404"/>
            </a:outerShdw>
          </a:effectLst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381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8800" b="1" spc="200" smtClean="0">
                <a:ln w="11430"/>
                <a:gradFill>
                  <a:gsLst>
                    <a:gs pos="25000">
                      <a:srgbClr val="00B0F0"/>
                    </a:gs>
                    <a:gs pos="100000">
                      <a:srgbClr val="002060"/>
                    </a:gs>
                  </a:gsLst>
                  <a:lin ang="5400000"/>
                </a:gradFill>
                <a:latin typeface="微软雅黑" pitchFamily="34" charset="-122"/>
                <a:ea typeface="宋体" charset="-122"/>
              </a:rPr>
              <a:t>谢谢观看</a:t>
            </a:r>
            <a:endParaRPr lang="zh-CN" altLang="en-US" sz="8800" b="1" spc="200">
              <a:ln w="11430"/>
              <a:gradFill>
                <a:gsLst>
                  <a:gs pos="25000">
                    <a:srgbClr val="00B0F0"/>
                  </a:gs>
                  <a:gs pos="100000">
                    <a:srgbClr val="002060"/>
                  </a:gs>
                </a:gsLst>
                <a:lin ang="5400000"/>
              </a:gradFill>
              <a:latin typeface="微软雅黑" pitchFamily="34" charset="-122"/>
              <a:ea typeface="宋体" charset="-122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13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ea typeface="宋体" charset="-122"/>
              </a:rPr>
              <a:t>ppt课件.</a:t>
            </a:r>
            <a:endParaRPr lang="zh-CN" altLang="en-US"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24306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6" presetClass="emph" presetSubtype="0" repeatCount="indefinite" fill="hold" nodeType="withEffect"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5362" name="文本框 1"/>
          <p:cNvSpPr/>
          <p:nvPr/>
        </p:nvSpPr>
        <p:spPr>
          <a:xfrm>
            <a:off x="2627312" y="1484312"/>
            <a:ext cx="4110038" cy="6461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defPPr algn="l" defTabSz="914400" rtl="0" eaLnBrk="0" hangingPunct="0">
              <a:defRPr kumimoji="0" lang="en-US" altLang="en-US"/>
            </a:defPPr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Garamond" pitchFamily="18" charset="0"/>
                <a:ea typeface="Arial"/>
                <a:cs typeface="Arial"/>
              </a:defRPr>
            </a:lvl1pPr>
            <a:lvl2pPr marL="45720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Garamond" pitchFamily="18" charset="0"/>
                <a:ea typeface="Arial"/>
                <a:cs typeface="Arial"/>
              </a:defRPr>
            </a:lvl2pPr>
            <a:lvl3pPr marL="91440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Garamond" pitchFamily="18" charset="0"/>
                <a:ea typeface="Arial"/>
                <a:cs typeface="Arial"/>
              </a:defRPr>
            </a:lvl3pPr>
            <a:lvl4pPr marL="137160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Garamond" pitchFamily="18" charset="0"/>
                <a:ea typeface="Arial"/>
                <a:cs typeface="Arial"/>
              </a:defRPr>
            </a:lvl4pPr>
            <a:lvl5pPr marL="182880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kern="1200">
                <a:solidFill>
                  <a:schemeClr val="tx1"/>
                </a:solidFill>
                <a:latin typeface="Garamond" pitchFamily="18" charset="0"/>
                <a:ea typeface="Arial"/>
                <a:cs typeface="Arial"/>
              </a:defRPr>
            </a:lvl5pPr>
            <a:lvl6pPr marL="0" algn="l" defTabSz="914400" rtl="0" eaLnBrk="0" latinLnBrk="0" hangingPunct="0">
              <a:defRPr kumimoji="0" lang="en-US" altLang="en-US" sz="1800" kern="1200">
                <a:solidFill>
                  <a:schemeClr val="phClr"/>
                </a:solidFill>
                <a:latin typeface="Arial"/>
                <a:ea typeface="Arial"/>
                <a:cs typeface="Arial"/>
              </a:defRPr>
            </a:lvl6pPr>
            <a:lvl7pPr marL="0" algn="l" defTabSz="914400" rtl="0" eaLnBrk="0" latinLnBrk="0" hangingPunct="0">
              <a:defRPr kumimoji="0" lang="en-US" altLang="en-US" sz="1800" kern="1200">
                <a:solidFill>
                  <a:schemeClr val="phClr"/>
                </a:solidFill>
                <a:latin typeface="Arial"/>
                <a:ea typeface="Arial"/>
                <a:cs typeface="Arial"/>
              </a:defRPr>
            </a:lvl7pPr>
            <a:lvl8pPr marL="0" algn="l" defTabSz="914400" rtl="0" eaLnBrk="0" latinLnBrk="0" hangingPunct="0">
              <a:defRPr kumimoji="0" lang="en-US" altLang="en-US" sz="1800" kern="1200">
                <a:solidFill>
                  <a:schemeClr val="phClr"/>
                </a:solidFill>
                <a:latin typeface="Arial"/>
                <a:ea typeface="Arial"/>
                <a:cs typeface="Arial"/>
              </a:defRPr>
            </a:lvl8pPr>
          </a:lstStyle>
          <a:p>
            <a:pPr marL="0" lvl="0" indent="0"/>
            <a:r>
              <a:rPr lang="zh-CN" altLang="en-US">
                <a:ea typeface="方正舒体"/>
              </a:rPr>
              <a:t>此课件下载可自行编辑修改，供参考！</a:t>
            </a:r>
            <a:endParaRPr lang="en-US" altLang="zh-CN">
              <a:ea typeface="方正舒体"/>
            </a:endParaRPr>
          </a:p>
          <a:p>
            <a:pPr marL="0" lvl="0" indent="0"/>
            <a:r>
              <a:rPr lang="zh-CN" altLang="en-US">
                <a:ea typeface="方正舒体"/>
              </a:rPr>
              <a:t>感谢您的支持，我们努力做得更好！</a:t>
            </a:r>
          </a:p>
        </p:txBody>
      </p:sp>
    </p:spTree>
  </p:cSld>
  <p:clrMapOvr>
    <a:masterClrMapping/>
  </p:clrMapOvr>
  <p:transition/>
  <p:timing/>
</p:sld>
</file>

<file path=ppt/slides/slide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5" name="矩形 4"/>
          <p:cNvSpPr/>
          <p:nvPr/>
        </p:nvSpPr>
        <p:spPr>
          <a:xfrm>
            <a:off x="-182880" y="0"/>
            <a:ext cx="2150956" cy="6858000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-182879" y="472440"/>
            <a:ext cx="2192523" cy="6285503"/>
            <a:chOff x="0" y="1176470"/>
            <a:chExt cx="2708655" cy="5581473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rgbClr val="D9C3A5">
                  <a:tint val="50000"/>
                  <a:satMod val="180000"/>
                </a:srgbClr>
              </a:duotone>
            </a:blip>
            <a:stretch>
              <a:fillRect/>
            </a:stretch>
          </p:blipFill>
          <p:spPr>
            <a:xfrm>
              <a:off x="0" y="1176470"/>
              <a:ext cx="2708655" cy="5581473"/>
            </a:xfrm>
            <a:prstGeom prst="rect">
              <a:avLst/>
            </a:prstGeom>
          </p:spPr>
        </p:pic>
        <p:sp>
          <p:nvSpPr>
            <p:cNvPr id="9" name="矩形 8"/>
            <p:cNvSpPr/>
            <p:nvPr/>
          </p:nvSpPr>
          <p:spPr>
            <a:xfrm>
              <a:off x="1223269" y="2195959"/>
              <a:ext cx="1158962" cy="9482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algn="dist"/>
              <a:r>
                <a:rPr lang="zh-CN" altLang="en-US" sz="3200" smtClean="0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方正综艺简体" panose="03000509000000000000" pitchFamily="65" charset="-122"/>
                  <a:ea typeface="宋体" charset="-122"/>
                </a:rPr>
                <a:t>目</a:t>
              </a:r>
              <a:endParaRPr lang="en-US" altLang="zh-CN" sz="320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方正综艺简体" panose="03000509000000000000" pitchFamily="65" charset="-122"/>
                <a:ea typeface="宋体" charset="-122"/>
              </a:endParaRPr>
            </a:p>
            <a:p>
              <a:pPr algn="dist"/>
              <a:r>
                <a:rPr lang="zh-CN" altLang="en-US" sz="3200" smtClean="0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方正综艺简体" panose="03000509000000000000" pitchFamily="65" charset="-122"/>
                  <a:ea typeface="宋体" charset="-122"/>
                </a:rPr>
                <a:t>录</a:t>
              </a:r>
              <a:endParaRPr lang="zh-CN" altLang="en-US" sz="320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方正综艺简体" panose="03000509000000000000" pitchFamily="65" charset="-122"/>
                <a:ea typeface="宋体" charset="-122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10080459" y="5128155"/>
            <a:ext cx="2143306" cy="2026956"/>
            <a:chOff x="7010007" y="1110455"/>
            <a:chExt cx="5546843" cy="5245729"/>
          </a:xfrm>
        </p:grpSpPr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10007" y="1110455"/>
              <a:ext cx="5546843" cy="5245729"/>
            </a:xfrm>
            <a:prstGeom prst="rect">
              <a:avLst/>
            </a:prstGeom>
          </p:spPr>
        </p:pic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041165" y="2380388"/>
              <a:ext cx="948677" cy="948677"/>
            </a:xfrm>
            <a:prstGeom prst="rect">
              <a:avLst/>
            </a:prstGeom>
          </p:spPr>
        </p:pic>
      </p:grpSp>
      <p:sp>
        <p:nvSpPr>
          <p:cNvPr id="20" name="矩形 22"/>
          <p:cNvSpPr/>
          <p:nvPr/>
        </p:nvSpPr>
        <p:spPr>
          <a:xfrm>
            <a:off x="6830402" y="1653942"/>
            <a:ext cx="3109653" cy="1314619"/>
          </a:xfrm>
          <a:custGeom>
            <a:rect l="l" t="t" r="r" b="b"/>
            <a:pathLst>
              <a:path w="3262358" h="1240628">
                <a:moveTo>
                  <a:pt x="0" y="0"/>
                </a:moveTo>
                <a:lnTo>
                  <a:pt x="595515" y="0"/>
                </a:lnTo>
                <a:cubicBezTo>
                  <a:pt x="760575" y="210252"/>
                  <a:pt x="1037271" y="347630"/>
                  <a:pt x="1350619" y="347630"/>
                </a:cubicBezTo>
                <a:cubicBezTo>
                  <a:pt x="1663967" y="347630"/>
                  <a:pt x="1940664" y="210252"/>
                  <a:pt x="2105723" y="0"/>
                </a:cubicBezTo>
                <a:lnTo>
                  <a:pt x="3262358" y="0"/>
                </a:lnTo>
                <a:lnTo>
                  <a:pt x="3262358" y="1240628"/>
                </a:lnTo>
                <a:lnTo>
                  <a:pt x="2122092" y="1240628"/>
                </a:lnTo>
                <a:cubicBezTo>
                  <a:pt x="1969695" y="982463"/>
                  <a:pt x="1661886" y="806335"/>
                  <a:pt x="1307087" y="806335"/>
                </a:cubicBezTo>
                <a:cubicBezTo>
                  <a:pt x="952289" y="806335"/>
                  <a:pt x="644480" y="982463"/>
                  <a:pt x="492083" y="1240628"/>
                </a:cubicBezTo>
                <a:lnTo>
                  <a:pt x="0" y="1240628"/>
                </a:lnTo>
                <a:close/>
              </a:path>
            </a:pathLst>
          </a:custGeom>
          <a:pattFill prst="dkVert">
            <a:fgClr>
              <a:srgbClr val="0070C0"/>
            </a:fgClr>
            <a:bgClr>
              <a:srgbClr val="00B0F0"/>
            </a:bgClr>
          </a:patt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8534474" y="1193933"/>
            <a:ext cx="1948506" cy="1966913"/>
            <a:chOff x="5944515" y="1580527"/>
            <a:chExt cx="1948746" cy="1967309"/>
          </a:xfrm>
        </p:grpSpPr>
        <p:grpSp>
          <p:nvGrpSpPr>
            <p:cNvPr id="22" name="组合 191"/>
            <p:cNvGrpSpPr/>
            <p:nvPr/>
          </p:nvGrpSpPr>
          <p:grpSpPr>
            <a:xfrm>
              <a:off x="5944515" y="1580527"/>
              <a:ext cx="1744877" cy="1967309"/>
              <a:chOff x="3491880" y="1395034"/>
              <a:chExt cx="3528392" cy="3978182"/>
            </a:xfrm>
          </p:grpSpPr>
          <p:sp>
            <p:nvSpPr>
              <p:cNvPr id="26" name="椭圆 25"/>
              <p:cNvSpPr/>
              <p:nvPr/>
            </p:nvSpPr>
            <p:spPr>
              <a:xfrm>
                <a:off x="3491880" y="1844546"/>
                <a:ext cx="3528392" cy="3528670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27" name="椭圆 26"/>
              <p:cNvSpPr/>
              <p:nvPr/>
            </p:nvSpPr>
            <p:spPr>
              <a:xfrm>
                <a:off x="3636354" y="1972978"/>
                <a:ext cx="3239445" cy="323969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28" name="椭圆 27"/>
              <p:cNvSpPr/>
              <p:nvPr/>
            </p:nvSpPr>
            <p:spPr>
              <a:xfrm>
                <a:off x="3928515" y="2278005"/>
                <a:ext cx="2629438" cy="2629644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29" name="椭圆 5"/>
              <p:cNvSpPr/>
              <p:nvPr/>
            </p:nvSpPr>
            <p:spPr>
              <a:xfrm rot="18046631">
                <a:off x="2766156" y="2278074"/>
                <a:ext cx="3528670" cy="1762592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sp>
          <p:nvSpPr>
            <p:cNvPr id="23" name="TextBox 60"/>
            <p:cNvSpPr txBox="1"/>
            <p:nvPr/>
          </p:nvSpPr>
          <p:spPr>
            <a:xfrm>
              <a:off x="6368428" y="2099745"/>
              <a:ext cx="886820" cy="4821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1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cxnSp>
          <p:nvCxnSpPr>
            <p:cNvPr id="24" name="直接连接符 197"/>
            <p:cNvCxnSpPr>
              <a:cxnSpLocks noChangeShapeType="1"/>
            </p:cNvCxnSpPr>
            <p:nvPr/>
          </p:nvCxnSpPr>
          <p:spPr bwMode="auto">
            <a:xfrm>
              <a:off x="6270069" y="2510591"/>
              <a:ext cx="1053453" cy="0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head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5" name="TextBox 72">
              <a:hlinkClick r:id="rId5" action="ppaction://hlinksldjump"/>
            </p:cNvPr>
            <p:cNvSpPr txBox="1"/>
            <p:nvPr/>
          </p:nvSpPr>
          <p:spPr>
            <a:xfrm>
              <a:off x="6187432" y="2545921"/>
              <a:ext cx="1707535" cy="3661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zh-CN" altLang="en-US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商机及创意</a:t>
              </a:r>
              <a:endParaRPr lang="zh-CN" altLang="en-US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sp>
        <p:nvSpPr>
          <p:cNvPr id="30" name="矩形 22"/>
          <p:cNvSpPr/>
          <p:nvPr/>
        </p:nvSpPr>
        <p:spPr>
          <a:xfrm>
            <a:off x="6798234" y="4584596"/>
            <a:ext cx="3109653" cy="1314619"/>
          </a:xfrm>
          <a:custGeom>
            <a:rect l="l" t="t" r="r" b="b"/>
            <a:pathLst>
              <a:path w="3262358" h="1240628">
                <a:moveTo>
                  <a:pt x="0" y="0"/>
                </a:moveTo>
                <a:lnTo>
                  <a:pt x="595515" y="0"/>
                </a:lnTo>
                <a:cubicBezTo>
                  <a:pt x="760575" y="210252"/>
                  <a:pt x="1037271" y="347630"/>
                  <a:pt x="1350619" y="347630"/>
                </a:cubicBezTo>
                <a:cubicBezTo>
                  <a:pt x="1663967" y="347630"/>
                  <a:pt x="1940664" y="210252"/>
                  <a:pt x="2105723" y="0"/>
                </a:cubicBezTo>
                <a:lnTo>
                  <a:pt x="3262358" y="0"/>
                </a:lnTo>
                <a:lnTo>
                  <a:pt x="3262358" y="1240628"/>
                </a:lnTo>
                <a:lnTo>
                  <a:pt x="2122092" y="1240628"/>
                </a:lnTo>
                <a:cubicBezTo>
                  <a:pt x="1969695" y="982463"/>
                  <a:pt x="1661886" y="806335"/>
                  <a:pt x="1307087" y="806335"/>
                </a:cubicBezTo>
                <a:cubicBezTo>
                  <a:pt x="952289" y="806335"/>
                  <a:pt x="644480" y="982463"/>
                  <a:pt x="492083" y="1240628"/>
                </a:cubicBezTo>
                <a:lnTo>
                  <a:pt x="0" y="1240628"/>
                </a:lnTo>
                <a:close/>
              </a:path>
            </a:pathLst>
          </a:custGeom>
          <a:pattFill prst="dkVert">
            <a:fgClr>
              <a:srgbClr val="0070C0"/>
            </a:fgClr>
            <a:bgClr>
              <a:srgbClr val="00B0F0"/>
            </a:bgClr>
          </a:patt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 charset="-122"/>
            </a:endParaRPr>
          </a:p>
        </p:txBody>
      </p:sp>
      <p:sp>
        <p:nvSpPr>
          <p:cNvPr id="31" name="矩形 22"/>
          <p:cNvSpPr/>
          <p:nvPr/>
        </p:nvSpPr>
        <p:spPr>
          <a:xfrm>
            <a:off x="4401820" y="4529147"/>
            <a:ext cx="3301801" cy="1320217"/>
          </a:xfrm>
          <a:custGeom>
            <a:rect l="l" t="t" r="r" b="b"/>
            <a:pathLst>
              <a:path w="3262358" h="1240628">
                <a:moveTo>
                  <a:pt x="0" y="0"/>
                </a:moveTo>
                <a:lnTo>
                  <a:pt x="595515" y="0"/>
                </a:lnTo>
                <a:cubicBezTo>
                  <a:pt x="760575" y="210252"/>
                  <a:pt x="1037271" y="347630"/>
                  <a:pt x="1350619" y="347630"/>
                </a:cubicBezTo>
                <a:cubicBezTo>
                  <a:pt x="1663967" y="347630"/>
                  <a:pt x="1940664" y="210252"/>
                  <a:pt x="2105723" y="0"/>
                </a:cubicBezTo>
                <a:lnTo>
                  <a:pt x="3262358" y="0"/>
                </a:lnTo>
                <a:lnTo>
                  <a:pt x="3262358" y="1240628"/>
                </a:lnTo>
                <a:lnTo>
                  <a:pt x="2122092" y="1240628"/>
                </a:lnTo>
                <a:cubicBezTo>
                  <a:pt x="1969695" y="982463"/>
                  <a:pt x="1661886" y="806335"/>
                  <a:pt x="1307087" y="806335"/>
                </a:cubicBezTo>
                <a:cubicBezTo>
                  <a:pt x="952289" y="806335"/>
                  <a:pt x="644480" y="982463"/>
                  <a:pt x="492083" y="1240628"/>
                </a:cubicBezTo>
                <a:lnTo>
                  <a:pt x="0" y="1240628"/>
                </a:lnTo>
                <a:close/>
              </a:path>
            </a:pathLst>
          </a:custGeom>
          <a:pattFill prst="dkVert">
            <a:fgClr>
              <a:srgbClr val="0070C0"/>
            </a:fgClr>
            <a:bgClr>
              <a:srgbClr val="00B0F0"/>
            </a:bgClr>
          </a:patt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 charset="-122"/>
            </a:endParaRPr>
          </a:p>
        </p:txBody>
      </p:sp>
      <p:sp>
        <p:nvSpPr>
          <p:cNvPr id="32" name="矩形 22"/>
          <p:cNvSpPr/>
          <p:nvPr/>
        </p:nvSpPr>
        <p:spPr>
          <a:xfrm rot="5400000">
            <a:off x="3069283" y="3190244"/>
            <a:ext cx="2892037" cy="1314619"/>
          </a:xfrm>
          <a:custGeom>
            <a:rect l="l" t="t" r="r" b="b"/>
            <a:pathLst>
              <a:path w="3545408" h="1611619">
                <a:moveTo>
                  <a:pt x="0" y="1611619"/>
                </a:moveTo>
                <a:lnTo>
                  <a:pt x="0" y="0"/>
                </a:lnTo>
                <a:lnTo>
                  <a:pt x="743327" y="0"/>
                </a:lnTo>
                <a:cubicBezTo>
                  <a:pt x="949356" y="273125"/>
                  <a:pt x="1294730" y="451584"/>
                  <a:pt x="1685854" y="451584"/>
                </a:cubicBezTo>
                <a:cubicBezTo>
                  <a:pt x="2076977" y="451584"/>
                  <a:pt x="2422353" y="273125"/>
                  <a:pt x="2628381" y="0"/>
                </a:cubicBezTo>
                <a:lnTo>
                  <a:pt x="3545408" y="0"/>
                </a:lnTo>
                <a:lnTo>
                  <a:pt x="3545408" y="1611619"/>
                </a:lnTo>
                <a:lnTo>
                  <a:pt x="2648813" y="1611619"/>
                </a:lnTo>
                <a:cubicBezTo>
                  <a:pt x="2458590" y="1276254"/>
                  <a:pt x="2074380" y="1047457"/>
                  <a:pt x="1631517" y="1047457"/>
                </a:cubicBezTo>
                <a:cubicBezTo>
                  <a:pt x="1188655" y="1047457"/>
                  <a:pt x="804445" y="1276254"/>
                  <a:pt x="614222" y="1611619"/>
                </a:cubicBezTo>
                <a:close/>
              </a:path>
            </a:pathLst>
          </a:custGeom>
          <a:pattFill prst="dkVert">
            <a:fgClr>
              <a:srgbClr val="0070C0"/>
            </a:fgClr>
            <a:bgClr>
              <a:srgbClr val="00B0F0"/>
            </a:bgClr>
          </a:patt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 charset="-122"/>
            </a:endParaRPr>
          </a:p>
        </p:txBody>
      </p:sp>
      <p:sp>
        <p:nvSpPr>
          <p:cNvPr id="33" name="矩形 22"/>
          <p:cNvSpPr/>
          <p:nvPr/>
        </p:nvSpPr>
        <p:spPr>
          <a:xfrm>
            <a:off x="4878922" y="1647904"/>
            <a:ext cx="2776271" cy="1314619"/>
          </a:xfrm>
          <a:custGeom>
            <a:rect l="l" t="t" r="r" b="b"/>
            <a:pathLst>
              <a:path w="3262358" h="1240628">
                <a:moveTo>
                  <a:pt x="0" y="0"/>
                </a:moveTo>
                <a:lnTo>
                  <a:pt x="595515" y="0"/>
                </a:lnTo>
                <a:cubicBezTo>
                  <a:pt x="760575" y="210252"/>
                  <a:pt x="1037271" y="347630"/>
                  <a:pt x="1350619" y="347630"/>
                </a:cubicBezTo>
                <a:cubicBezTo>
                  <a:pt x="1663967" y="347630"/>
                  <a:pt x="1940664" y="210252"/>
                  <a:pt x="2105723" y="0"/>
                </a:cubicBezTo>
                <a:lnTo>
                  <a:pt x="3262358" y="0"/>
                </a:lnTo>
                <a:lnTo>
                  <a:pt x="3262358" y="1240628"/>
                </a:lnTo>
                <a:lnTo>
                  <a:pt x="2122092" y="1240628"/>
                </a:lnTo>
                <a:cubicBezTo>
                  <a:pt x="1969695" y="982463"/>
                  <a:pt x="1661886" y="806335"/>
                  <a:pt x="1307087" y="806335"/>
                </a:cubicBezTo>
                <a:cubicBezTo>
                  <a:pt x="952289" y="806335"/>
                  <a:pt x="644480" y="982463"/>
                  <a:pt x="492083" y="1240628"/>
                </a:cubicBezTo>
                <a:lnTo>
                  <a:pt x="0" y="1240628"/>
                </a:lnTo>
                <a:close/>
              </a:path>
            </a:pathLst>
          </a:custGeom>
          <a:pattFill prst="dkVert">
            <a:fgClr>
              <a:srgbClr val="0070C0"/>
            </a:fgClr>
            <a:bgClr>
              <a:srgbClr val="00B0F0"/>
            </a:bgClr>
          </a:patt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 charset="-122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3554486" y="906596"/>
            <a:ext cx="2116138" cy="2386012"/>
            <a:chOff x="964773" y="1293914"/>
            <a:chExt cx="2116155" cy="2385916"/>
          </a:xfrm>
        </p:grpSpPr>
        <p:grpSp>
          <p:nvGrpSpPr>
            <p:cNvPr id="35" name="组合 150"/>
            <p:cNvGrpSpPr/>
            <p:nvPr/>
          </p:nvGrpSpPr>
          <p:grpSpPr>
            <a:xfrm>
              <a:off x="964773" y="1293914"/>
              <a:ext cx="2116155" cy="2385916"/>
              <a:chOff x="3491880" y="1395034"/>
              <a:chExt cx="3528392" cy="3978182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3491880" y="1844995"/>
                <a:ext cx="3528392" cy="3528221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3634816" y="1974689"/>
                <a:ext cx="3242521" cy="323971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41" name="椭圆 40"/>
              <p:cNvSpPr/>
              <p:nvPr/>
            </p:nvSpPr>
            <p:spPr>
              <a:xfrm>
                <a:off x="3928628" y="2279075"/>
                <a:ext cx="2628426" cy="2628300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42" name="椭圆 5"/>
              <p:cNvSpPr/>
              <p:nvPr/>
            </p:nvSpPr>
            <p:spPr>
              <a:xfrm rot="18046631">
                <a:off x="2765377" y="2277709"/>
                <a:ext cx="3528221" cy="1762872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cxnSp>
          <p:nvCxnSpPr>
            <p:cNvPr id="36" name="直接连接符 154"/>
            <p:cNvCxnSpPr>
              <a:cxnSpLocks noChangeShapeType="1"/>
            </p:cNvCxnSpPr>
            <p:nvPr/>
          </p:nvCxnSpPr>
          <p:spPr bwMode="auto">
            <a:xfrm flipH="1">
              <a:off x="1706129" y="2033377"/>
              <a:ext cx="0" cy="1197528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tail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7" name="TextBox 70"/>
            <p:cNvSpPr txBox="1"/>
            <p:nvPr/>
          </p:nvSpPr>
          <p:spPr>
            <a:xfrm>
              <a:off x="1071137" y="2352733"/>
              <a:ext cx="812030" cy="482046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 smtClean="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3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sp>
          <p:nvSpPr>
            <p:cNvPr id="38" name="TextBox 71">
              <a:hlinkClick r:id="rId6" action="ppaction://hlinksldjump"/>
            </p:cNvPr>
            <p:cNvSpPr txBox="1"/>
            <p:nvPr/>
          </p:nvSpPr>
          <p:spPr>
            <a:xfrm>
              <a:off x="1637878" y="2352733"/>
              <a:ext cx="1406354" cy="6406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战略及</a:t>
              </a:r>
              <a:endParaRPr lang="en-US" altLang="zh-CN" b="1" kern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  <a:p>
              <a:pPr>
                <a:defRPr/>
              </a:pPr>
              <a:r>
                <a:rPr lang="zh-CN" altLang="en-US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营销</a:t>
              </a:r>
              <a:endParaRPr lang="zh-CN" altLang="en-US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6246886" y="1187583"/>
            <a:ext cx="1744663" cy="1966913"/>
            <a:chOff x="3765963" y="1574489"/>
            <a:chExt cx="1744877" cy="1967309"/>
          </a:xfrm>
        </p:grpSpPr>
        <p:grpSp>
          <p:nvGrpSpPr>
            <p:cNvPr id="44" name="组合 151"/>
            <p:cNvGrpSpPr/>
            <p:nvPr/>
          </p:nvGrpSpPr>
          <p:grpSpPr>
            <a:xfrm>
              <a:off x="3765963" y="1574489"/>
              <a:ext cx="1744877" cy="1967309"/>
              <a:chOff x="3491880" y="1395034"/>
              <a:chExt cx="3528392" cy="3978182"/>
            </a:xfrm>
          </p:grpSpPr>
          <p:sp>
            <p:nvSpPr>
              <p:cNvPr id="48" name="椭圆 47"/>
              <p:cNvSpPr/>
              <p:nvPr/>
            </p:nvSpPr>
            <p:spPr>
              <a:xfrm>
                <a:off x="3491880" y="1844546"/>
                <a:ext cx="3528392" cy="3528670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49" name="椭圆 48"/>
              <p:cNvSpPr/>
              <p:nvPr/>
            </p:nvSpPr>
            <p:spPr>
              <a:xfrm>
                <a:off x="3636356" y="1972978"/>
                <a:ext cx="3239441" cy="323969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50" name="椭圆 49"/>
              <p:cNvSpPr/>
              <p:nvPr/>
            </p:nvSpPr>
            <p:spPr>
              <a:xfrm>
                <a:off x="3928514" y="2278005"/>
                <a:ext cx="2629439" cy="2629644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51" name="椭圆 5"/>
              <p:cNvSpPr/>
              <p:nvPr/>
            </p:nvSpPr>
            <p:spPr>
              <a:xfrm rot="18046631">
                <a:off x="2766157" y="2278074"/>
                <a:ext cx="3528670" cy="1762589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sp>
          <p:nvSpPr>
            <p:cNvPr id="45" name="TextBox 60"/>
            <p:cNvSpPr txBox="1"/>
            <p:nvPr/>
          </p:nvSpPr>
          <p:spPr>
            <a:xfrm>
              <a:off x="4188290" y="2033369"/>
              <a:ext cx="843909" cy="4821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 smtClean="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2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cxnSp>
          <p:nvCxnSpPr>
            <p:cNvPr id="46" name="直接连接符 153"/>
            <p:cNvCxnSpPr>
              <a:cxnSpLocks noChangeShapeType="1"/>
            </p:cNvCxnSpPr>
            <p:nvPr/>
          </p:nvCxnSpPr>
          <p:spPr bwMode="auto">
            <a:xfrm>
              <a:off x="4125634" y="2504553"/>
              <a:ext cx="1053453" cy="0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head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" name="TextBox 72">
              <a:hlinkClick r:id="rId7" action="ppaction://hlinksldjump"/>
            </p:cNvPr>
            <p:cNvSpPr txBox="1"/>
            <p:nvPr/>
          </p:nvSpPr>
          <p:spPr>
            <a:xfrm>
              <a:off x="4029520" y="2531945"/>
              <a:ext cx="1293677" cy="518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000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环境分析</a:t>
              </a:r>
              <a:r>
                <a:rPr lang="zh-CN" altLang="en-US" sz="2800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 </a:t>
              </a:r>
              <a:endParaRPr lang="zh-CN" altLang="en-US" sz="2800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3635449" y="3960946"/>
            <a:ext cx="1744662" cy="1966912"/>
            <a:chOff x="1045472" y="4348285"/>
            <a:chExt cx="1744877" cy="1967309"/>
          </a:xfrm>
        </p:grpSpPr>
        <p:grpSp>
          <p:nvGrpSpPr>
            <p:cNvPr id="53" name="组合 155"/>
            <p:cNvGrpSpPr/>
            <p:nvPr/>
          </p:nvGrpSpPr>
          <p:grpSpPr>
            <a:xfrm>
              <a:off x="1045472" y="4348285"/>
              <a:ext cx="1744877" cy="1967309"/>
              <a:chOff x="3491880" y="1395034"/>
              <a:chExt cx="3528392" cy="3978182"/>
            </a:xfrm>
          </p:grpSpPr>
          <p:sp>
            <p:nvSpPr>
              <p:cNvPr id="57" name="椭圆 56"/>
              <p:cNvSpPr/>
              <p:nvPr/>
            </p:nvSpPr>
            <p:spPr>
              <a:xfrm>
                <a:off x="3491880" y="1844546"/>
                <a:ext cx="3528392" cy="3528670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58" name="椭圆 57"/>
              <p:cNvSpPr/>
              <p:nvPr/>
            </p:nvSpPr>
            <p:spPr>
              <a:xfrm>
                <a:off x="3636354" y="1972978"/>
                <a:ext cx="3239445" cy="323969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59" name="椭圆 58"/>
              <p:cNvSpPr/>
              <p:nvPr/>
            </p:nvSpPr>
            <p:spPr>
              <a:xfrm>
                <a:off x="3928515" y="2278003"/>
                <a:ext cx="2629438" cy="2629647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60" name="椭圆 5"/>
              <p:cNvSpPr/>
              <p:nvPr/>
            </p:nvSpPr>
            <p:spPr>
              <a:xfrm rot="18046631">
                <a:off x="2766157" y="2278073"/>
                <a:ext cx="3528670" cy="1762592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sp>
          <p:nvSpPr>
            <p:cNvPr id="54" name="TextBox 68"/>
            <p:cNvSpPr txBox="1"/>
            <p:nvPr/>
          </p:nvSpPr>
          <p:spPr>
            <a:xfrm>
              <a:off x="1448747" y="4830982"/>
              <a:ext cx="878873" cy="4821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 smtClean="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4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cxnSp>
          <p:nvCxnSpPr>
            <p:cNvPr id="55" name="直接连接符 157"/>
            <p:cNvCxnSpPr>
              <a:cxnSpLocks noChangeShapeType="1"/>
            </p:cNvCxnSpPr>
            <p:nvPr/>
          </p:nvCxnSpPr>
          <p:spPr bwMode="auto">
            <a:xfrm>
              <a:off x="1371026" y="5278349"/>
              <a:ext cx="1053453" cy="0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tail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6" name="TextBox 73"/>
            <p:cNvSpPr txBox="1"/>
            <p:nvPr/>
          </p:nvSpPr>
          <p:spPr>
            <a:xfrm>
              <a:off x="1312205" y="5304154"/>
              <a:ext cx="1408105" cy="3662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zh-CN" altLang="en-US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生产及经营 </a:t>
              </a:r>
              <a:endParaRPr lang="zh-CN" altLang="en-US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6281811" y="4068896"/>
            <a:ext cx="1744663" cy="1966912"/>
            <a:chOff x="3550050" y="4455732"/>
            <a:chExt cx="1744877" cy="1967309"/>
          </a:xfrm>
        </p:grpSpPr>
        <p:grpSp>
          <p:nvGrpSpPr>
            <p:cNvPr id="62" name="组合 162"/>
            <p:cNvGrpSpPr/>
            <p:nvPr/>
          </p:nvGrpSpPr>
          <p:grpSpPr>
            <a:xfrm>
              <a:off x="3550050" y="4455732"/>
              <a:ext cx="1744877" cy="1967309"/>
              <a:chOff x="3491880" y="1395034"/>
              <a:chExt cx="3528392" cy="3978182"/>
            </a:xfrm>
          </p:grpSpPr>
          <p:sp>
            <p:nvSpPr>
              <p:cNvPr id="66" name="椭圆 65"/>
              <p:cNvSpPr/>
              <p:nvPr/>
            </p:nvSpPr>
            <p:spPr>
              <a:xfrm>
                <a:off x="3491880" y="1844546"/>
                <a:ext cx="3528392" cy="3528670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67" name="椭圆 66"/>
              <p:cNvSpPr/>
              <p:nvPr/>
            </p:nvSpPr>
            <p:spPr>
              <a:xfrm>
                <a:off x="3636356" y="1972978"/>
                <a:ext cx="3239441" cy="323969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3928514" y="2278003"/>
                <a:ext cx="2629439" cy="2629647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69" name="椭圆 5"/>
              <p:cNvSpPr/>
              <p:nvPr/>
            </p:nvSpPr>
            <p:spPr>
              <a:xfrm rot="18046631">
                <a:off x="2766159" y="2278073"/>
                <a:ext cx="3528670" cy="1762589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sp>
          <p:nvSpPr>
            <p:cNvPr id="63" name="TextBox 80"/>
            <p:cNvSpPr txBox="1"/>
            <p:nvPr/>
          </p:nvSpPr>
          <p:spPr>
            <a:xfrm>
              <a:off x="3983492" y="4986064"/>
              <a:ext cx="753320" cy="4821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 smtClean="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5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cxnSp>
          <p:nvCxnSpPr>
            <p:cNvPr id="64" name="直接连接符 164"/>
            <p:cNvCxnSpPr>
              <a:cxnSpLocks noChangeShapeType="1"/>
            </p:cNvCxnSpPr>
            <p:nvPr/>
          </p:nvCxnSpPr>
          <p:spPr bwMode="auto">
            <a:xfrm flipH="1">
              <a:off x="3875604" y="5385796"/>
              <a:ext cx="1053453" cy="0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head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5" name="TextBox 82">
              <a:hlinkClick r:id="rId8" action="ppaction://hlinksldjump"/>
            </p:cNvPr>
            <p:cNvSpPr txBox="1"/>
            <p:nvPr/>
          </p:nvSpPr>
          <p:spPr>
            <a:xfrm>
              <a:off x="3810432" y="5411600"/>
              <a:ext cx="1293677" cy="3967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000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财务管理</a:t>
              </a:r>
              <a:endParaRPr lang="zh-CN" altLang="en-US" sz="2000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8534474" y="4124458"/>
            <a:ext cx="1744662" cy="1966913"/>
            <a:chOff x="5944515" y="4511181"/>
            <a:chExt cx="1744877" cy="1967309"/>
          </a:xfrm>
        </p:grpSpPr>
        <p:grpSp>
          <p:nvGrpSpPr>
            <p:cNvPr id="71" name="组合 166"/>
            <p:cNvGrpSpPr/>
            <p:nvPr/>
          </p:nvGrpSpPr>
          <p:grpSpPr>
            <a:xfrm>
              <a:off x="5944515" y="4511181"/>
              <a:ext cx="1744877" cy="1967309"/>
              <a:chOff x="3491880" y="1395034"/>
              <a:chExt cx="3528392" cy="3978182"/>
            </a:xfrm>
          </p:grpSpPr>
          <p:sp>
            <p:nvSpPr>
              <p:cNvPr id="75" name="椭圆 74"/>
              <p:cNvSpPr/>
              <p:nvPr/>
            </p:nvSpPr>
            <p:spPr>
              <a:xfrm>
                <a:off x="3491880" y="1844546"/>
                <a:ext cx="3528392" cy="3528670"/>
              </a:xfrm>
              <a:prstGeom prst="ellipse">
                <a:avLst/>
              </a:prstGeom>
              <a:solidFill>
                <a:srgbClr val="0996FF"/>
              </a:solidFill>
              <a:ln w="25400" cap="flat" cmpd="sng" algn="ctr">
                <a:solidFill>
                  <a:srgbClr val="FFFFFF">
                    <a:alpha val="76863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76" name="椭圆 75"/>
              <p:cNvSpPr/>
              <p:nvPr/>
            </p:nvSpPr>
            <p:spPr>
              <a:xfrm>
                <a:off x="3636354" y="1972978"/>
                <a:ext cx="3239445" cy="3239698"/>
              </a:xfrm>
              <a:prstGeom prst="ellipse">
                <a:avLst/>
              </a:prstGeom>
              <a:gradFill flip="none" rotWithShape="1">
                <a:gsLst>
                  <a:gs pos="72000">
                    <a:srgbClr val="0070C0">
                      <a:shade val="30000"/>
                      <a:satMod val="115000"/>
                    </a:srgbClr>
                  </a:gs>
                  <a:gs pos="83000">
                    <a:srgbClr val="0070C0">
                      <a:shade val="67500"/>
                      <a:satMod val="115000"/>
                    </a:srgbClr>
                  </a:gs>
                  <a:gs pos="100000">
                    <a:srgbClr val="00B0F0"/>
                  </a:gs>
                </a:gsLst>
                <a:path path="shape">
                  <a:fillToRect l="50000" t="50000" r="50000" b="50000"/>
                </a:path>
              </a:gradFill>
              <a:ln w="25400" cap="flat" cmpd="sng" algn="ctr">
                <a:solidFill>
                  <a:srgbClr val="FFFFFF">
                    <a:alpha val="45882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77" name="椭圆 76"/>
              <p:cNvSpPr/>
              <p:nvPr/>
            </p:nvSpPr>
            <p:spPr>
              <a:xfrm>
                <a:off x="3928515" y="2278005"/>
                <a:ext cx="2629438" cy="2629644"/>
              </a:xfrm>
              <a:prstGeom prst="ellipse">
                <a:avLst/>
              </a:prstGeom>
              <a:pattFill prst="solidDmnd">
                <a:fgClr>
                  <a:srgbClr val="34D1F0"/>
                </a:fgClr>
                <a:bgClr>
                  <a:srgbClr val="68DDF4"/>
                </a:bgClr>
              </a:pattFill>
              <a:ln w="28575" cap="flat" cmpd="sng" algn="ctr">
                <a:solidFill>
                  <a:srgbClr val="FFFFFF">
                    <a:alpha val="58039"/>
                  </a:srgbClr>
                </a:solidFill>
                <a:prstDash val="solid"/>
              </a:ln>
              <a:effectLst>
                <a:outerShdw blurRad="431800" sx="101000" sy="101000" algn="ct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  <p:sp>
            <p:nvSpPr>
              <p:cNvPr id="78" name="椭圆 5"/>
              <p:cNvSpPr/>
              <p:nvPr/>
            </p:nvSpPr>
            <p:spPr>
              <a:xfrm rot="18046631">
                <a:off x="2766156" y="2278074"/>
                <a:ext cx="3528670" cy="1762592"/>
              </a:xfrm>
              <a:custGeom>
                <a:rect l="l" t="t" r="r" b="b"/>
                <a:pathLst>
                  <a:path w="3528392" h="1764196">
                    <a:moveTo>
                      <a:pt x="1764196" y="0"/>
                    </a:moveTo>
                    <a:cubicBezTo>
                      <a:pt x="2738535" y="0"/>
                      <a:pt x="3528392" y="789857"/>
                      <a:pt x="3528392" y="1764196"/>
                    </a:cubicBezTo>
                    <a:lnTo>
                      <a:pt x="0" y="1764196"/>
                    </a:lnTo>
                    <a:cubicBezTo>
                      <a:pt x="0" y="789857"/>
                      <a:pt x="789857" y="0"/>
                      <a:pt x="1764196" y="0"/>
                    </a:cubicBezTo>
                    <a:close/>
                  </a:path>
                </a:pathLst>
              </a:custGeom>
              <a:solidFill>
                <a:srgbClr val="FFFFFF">
                  <a:alpha val="18039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1600" kern="0">
                  <a:solidFill>
                    <a:sysClr val="window" lastClr="FFFFFF"/>
                  </a:solidFill>
                  <a:latin typeface="Calibri"/>
                  <a:ea typeface="宋体" charset="-122"/>
                </a:endParaRPr>
              </a:p>
            </p:txBody>
          </p:sp>
        </p:grpSp>
        <p:sp>
          <p:nvSpPr>
            <p:cNvPr id="72" name="TextBox 88"/>
            <p:cNvSpPr txBox="1"/>
            <p:nvPr/>
          </p:nvSpPr>
          <p:spPr>
            <a:xfrm>
              <a:off x="6400183" y="5016108"/>
              <a:ext cx="759678" cy="4821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4000" b="1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uLnTx/>
                  <a:uFillTx/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en-US" altLang="zh-CN" sz="3200" smtClean="0">
                  <a:solidFill>
                    <a:srgbClr val="004070"/>
                  </a:solidFill>
                  <a:effectLst>
                    <a:outerShdw dist="38100" dir="5400000" algn="t" rotWithShape="0">
                      <a:sysClr val="window" lastClr="FFFFFF">
                        <a:alpha val="40000"/>
                      </a:sysClr>
                    </a:outerShdw>
                  </a:effectLst>
                  <a:latin typeface="Arial" pitchFamily="34" charset="0"/>
                  <a:ea typeface="宋体" charset="-122"/>
                  <a:cs typeface="Arial" pitchFamily="34" charset="0"/>
                </a:rPr>
                <a:t>06</a:t>
              </a:r>
              <a:endParaRPr lang="zh-CN" altLang="en-US" sz="3200">
                <a:solidFill>
                  <a:srgbClr val="00407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  <p:cxnSp>
          <p:nvCxnSpPr>
            <p:cNvPr id="73" name="直接连接符 168"/>
            <p:cNvCxnSpPr>
              <a:cxnSpLocks noChangeShapeType="1"/>
            </p:cNvCxnSpPr>
            <p:nvPr/>
          </p:nvCxnSpPr>
          <p:spPr bwMode="auto">
            <a:xfrm flipH="1">
              <a:off x="6237901" y="5441245"/>
              <a:ext cx="1053453" cy="0"/>
            </a:xfrm>
            <a:prstGeom prst="line">
              <a:avLst/>
            </a:prstGeom>
            <a:noFill/>
            <a:ln w="22225" algn="ctr">
              <a:solidFill>
                <a:srgbClr val="0070C0"/>
              </a:solidFill>
              <a:prstDash val="sysDash"/>
              <a:round/>
              <a:headEnd type="arrow" w="med" len="med"/>
            </a:ln>
            <a:effectLst>
              <a:outerShdw dist="25400" dir="5400000" algn="t" rotWithShape="0">
                <a:srgbClr val="FFFFFF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4" name="TextBox 90">
              <a:hlinkClick r:id="rId9" action="ppaction://hlinksldjump"/>
            </p:cNvPr>
            <p:cNvSpPr txBox="1"/>
            <p:nvPr/>
          </p:nvSpPr>
          <p:spPr>
            <a:xfrm>
              <a:off x="6203308" y="5454346"/>
              <a:ext cx="1293677" cy="3661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b="1" kern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风险管理</a:t>
              </a:r>
              <a:endParaRPr lang="zh-CN" altLang="en-US" b="1" ker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sp>
        <p:nvSpPr>
          <p:cNvPr id="79" name="灯片编号占位符 7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2</a:t>
            </a:fld>
            <a:endParaRPr lang="zh-CN" altLang="en-US">
              <a:ea typeface="宋体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344895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nodeType="withEffect"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2" fill="hold" nodeType="withEffect"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nodeType="withEffect"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9" presetClass="entr" presetSubtype="0" decel="100000" fill="hold" nodeType="withEffect"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19" name="图片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83"/>
          <a:stretch>
            <a:fillRect/>
          </a:stretch>
        </p:blipFill>
        <p:spPr>
          <a:xfrm>
            <a:off x="203200" y="5346927"/>
            <a:ext cx="11988800" cy="1532864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58564" y="770981"/>
            <a:ext cx="961716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F</a:t>
            </a: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irst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13301" y="1859509"/>
            <a:ext cx="1254218" cy="661202"/>
            <a:chOff x="313301" y="1859509"/>
            <a:chExt cx="1254218" cy="661202"/>
          </a:xfrm>
        </p:grpSpPr>
        <p:sp>
          <p:nvSpPr>
            <p:cNvPr id="11" name="矩形 10"/>
            <p:cNvSpPr/>
            <p:nvPr/>
          </p:nvSpPr>
          <p:spPr>
            <a:xfrm>
              <a:off x="416202" y="1859509"/>
              <a:ext cx="1151317" cy="66120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91" name="文本框 90"/>
            <p:cNvSpPr txBox="1"/>
            <p:nvPr/>
          </p:nvSpPr>
          <p:spPr>
            <a:xfrm>
              <a:off x="312674" y="2026611"/>
              <a:ext cx="1255472" cy="305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smtClean="0">
                  <a:solidFill>
                    <a:schemeClr val="bg1"/>
                  </a:solidFill>
                  <a:latin typeface="微软雅黑" pitchFamily="34" charset="-122"/>
                  <a:ea typeface="宋体" charset="-122"/>
                </a:rPr>
                <a:t>创意及商机</a:t>
              </a:r>
              <a:endParaRPr lang="zh-CN" altLang="en-US" sz="1400" b="1">
                <a:solidFill>
                  <a:schemeClr val="bg1"/>
                </a:solidFill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4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96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pic>
        <p:nvPicPr>
          <p:cNvPr id="98" name="图片 97"/>
          <p:cNvPicPr>
            <a:picLocks noChangeAspect="1"/>
          </p:cNvPicPr>
          <p:nvPr/>
        </p:nvPicPr>
        <p:blipFill>
          <a:blip r:embed="rId4"/>
          <a:srcRect r="48184"/>
          <a:stretch>
            <a:fillRect/>
          </a:stretch>
        </p:blipFill>
        <p:spPr>
          <a:xfrm>
            <a:off x="10766739" y="-100126"/>
            <a:ext cx="1425262" cy="5460739"/>
          </a:xfrm>
          <a:prstGeom prst="rect">
            <a:avLst/>
          </a:prstGeom>
        </p:spPr>
      </p:pic>
      <p:graphicFrame>
        <p:nvGraphicFramePr>
          <p:cNvPr id="99" name="对象 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5598970"/>
              </p:ext>
            </p:extLst>
          </p:nvPr>
        </p:nvGraphicFramePr>
        <p:xfrm>
          <a:off x="2974482" y="217699"/>
          <a:ext cx="879388" cy="61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CorelDRAW" r:id="rId5" progId="">
                  <p:embed/>
                </p:oleObj>
              </mc:Choice>
              <mc:Fallback>
                <p:oleObj name="CorelDRAW" r:id="rId5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2974482" y="217699"/>
                        <a:ext cx="879388" cy="61957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对象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6787311"/>
              </p:ext>
            </p:extLst>
          </p:nvPr>
        </p:nvGraphicFramePr>
        <p:xfrm>
          <a:off x="10513572" y="253639"/>
          <a:ext cx="724586" cy="5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CorelDRAW" r:id="rId7" progId="">
                  <p:embed/>
                </p:oleObj>
              </mc:Choice>
              <mc:Fallback>
                <p:oleObj name="CorelDRAW" r:id="rId7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0513572" y="253639"/>
                        <a:ext cx="724586" cy="51050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对象 1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3514827"/>
              </p:ext>
            </p:extLst>
          </p:nvPr>
        </p:nvGraphicFramePr>
        <p:xfrm>
          <a:off x="3735097" y="632647"/>
          <a:ext cx="6859901" cy="24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CorelDRAW" r:id="rId9" progId="">
                  <p:embed/>
                </p:oleObj>
              </mc:Choice>
              <mc:Fallback>
                <p:oleObj name="CorelDRAW" r:id="rId9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3735097" y="632647"/>
                        <a:ext cx="6859901" cy="2444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组合 24"/>
          <p:cNvGrpSpPr/>
          <p:nvPr/>
        </p:nvGrpSpPr>
        <p:grpSpPr>
          <a:xfrm>
            <a:off x="5814534" y="726492"/>
            <a:ext cx="4482160" cy="3865627"/>
            <a:chOff x="5814534" y="726492"/>
            <a:chExt cx="4482160" cy="3865627"/>
          </a:xfrm>
        </p:grpSpPr>
        <p:grpSp>
          <p:nvGrpSpPr>
            <p:cNvPr id="23" name="组合 22"/>
            <p:cNvGrpSpPr/>
            <p:nvPr/>
          </p:nvGrpSpPr>
          <p:grpSpPr>
            <a:xfrm>
              <a:off x="5814534" y="726492"/>
              <a:ext cx="4482160" cy="3865627"/>
              <a:chOff x="6112838" y="2416553"/>
              <a:chExt cx="4482160" cy="3865627"/>
            </a:xfrm>
          </p:grpSpPr>
          <p:sp>
            <p:nvSpPr>
              <p:cNvPr id="22" name="矩形 21"/>
              <p:cNvSpPr/>
              <p:nvPr/>
            </p:nvSpPr>
            <p:spPr>
              <a:xfrm>
                <a:off x="6361612" y="3329013"/>
                <a:ext cx="3954366" cy="2631304"/>
              </a:xfrm>
              <a:custGeom>
                <a:gdLst>
                  <a:gd name="connsiteX0" fmla="*/ 0 w 3954366"/>
                  <a:gd name="connsiteY0" fmla="*/ 218941 h 2631304"/>
                  <a:gd name="connsiteX1" fmla="*/ 3761182 w 3954366"/>
                  <a:gd name="connsiteY1" fmla="*/ 0 h 2631304"/>
                  <a:gd name="connsiteX2" fmla="*/ 3954366 w 3954366"/>
                  <a:gd name="connsiteY2" fmla="*/ 2347969 h 2631304"/>
                  <a:gd name="connsiteX3" fmla="*/ 218941 w 3954366"/>
                  <a:gd name="connsiteY3" fmla="*/ 2631304 h 2631304"/>
                  <a:gd name="connsiteX4" fmla="*/ 0 w 3954366"/>
                  <a:gd name="connsiteY4" fmla="*/ 218941 h 2631304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4365" h="2631304">
                    <a:moveTo>
                      <a:pt x="0" y="218941"/>
                    </a:moveTo>
                    <a:lnTo>
                      <a:pt x="3761182" y="0"/>
                    </a:lnTo>
                    <a:lnTo>
                      <a:pt x="3954366" y="2347969"/>
                    </a:lnTo>
                    <a:lnTo>
                      <a:pt x="218941" y="2631304"/>
                    </a:lnTo>
                    <a:lnTo>
                      <a:pt x="0" y="21894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ea typeface="宋体" charset="-122"/>
                </a:endParaRPr>
              </a:p>
            </p:txBody>
          </p:sp>
          <p:pic>
            <p:nvPicPr>
              <p:cNvPr id="21" name="图片 20"/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12838" y="2416553"/>
                <a:ext cx="4482160" cy="3865627"/>
              </a:xfrm>
              <a:prstGeom prst="rect">
                <a:avLst/>
              </a:prstGeom>
            </p:spPr>
          </p:pic>
        </p:grpSp>
        <p:sp>
          <p:nvSpPr>
            <p:cNvPr id="24" name="矩形 23"/>
            <p:cNvSpPr/>
            <p:nvPr/>
          </p:nvSpPr>
          <p:spPr>
            <a:xfrm rot="21408893">
              <a:off x="6430224" y="1833531"/>
              <a:ext cx="3276950" cy="2150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b="1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宋体" charset="-122"/>
                </a:rPr>
                <a:t>太阳能电动</a:t>
              </a:r>
              <a:r>
                <a:rPr lang="zh-CN" altLang="en-US" b="1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宋体" charset="-122"/>
                </a:rPr>
                <a:t>伞</a:t>
              </a:r>
              <a:endParaRPr lang="en-US" altLang="zh-CN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宋体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宋体" charset="-122"/>
                </a:rPr>
                <a:t>创新：利用太阳能发电，可遮阳降温</a:t>
              </a:r>
              <a:endParaRPr lang="en-US" altLang="zh-CN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宋体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商机：市场上还未出现，是绿色能源经济</a:t>
              </a:r>
              <a:endParaRPr lang="zh-CN" altLang="en-US" b="1">
                <a:latin typeface="微软雅黑" pitchFamily="34" charset="-122"/>
                <a:ea typeface="宋体" charset="-122"/>
              </a:endParaRPr>
            </a:p>
          </p:txBody>
        </p:sp>
      </p:grpSp>
      <p:pic>
        <p:nvPicPr>
          <p:cNvPr id="104" name="图片 103" descr="new尘4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5762" y="4937814"/>
            <a:ext cx="3954463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图片 88"/>
          <p:cNvPicPr/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1620" y="1803487"/>
            <a:ext cx="3021406" cy="4167424"/>
          </a:xfrm>
          <a:prstGeom prst="rect">
            <a:avLst/>
          </a:prstGeom>
        </p:spPr>
      </p:pic>
      <p:sp>
        <p:nvSpPr>
          <p:cNvPr id="90" name="灯片编号占位符 8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3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222962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fill="hold" nodeType="withEffect">
                                  <p:childTnLst>
                                    <p:animScale>
                                      <p:cBhvr>
                                        <p:cTn id="18" dur="1000" fill="hold"/>
                                        <p:tgtEl>
                                          <p:spTgt spid="10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58564" y="770981"/>
            <a:ext cx="961716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F</a:t>
            </a: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irst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14" name="Oval 3"/>
          <p:cNvSpPr>
            <a:spLocks noChangeArrowheads="1"/>
          </p:cNvSpPr>
          <p:nvPr/>
        </p:nvSpPr>
        <p:spPr bwMode="auto">
          <a:xfrm rot="10800000" flipV="1">
            <a:off x="1780521" y="5404089"/>
            <a:ext cx="5763600" cy="566822"/>
          </a:xfrm>
          <a:prstGeom prst="ellipse">
            <a:avLst/>
          </a:prstGeom>
          <a:gradFill rotWithShape="1">
            <a:gsLst>
              <a:gs pos="0">
                <a:srgbClr val="000000">
                  <a:alpha val="39999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宋体" charset="-122"/>
            </a:endParaRPr>
          </a:p>
        </p:txBody>
      </p:sp>
      <p:grpSp>
        <p:nvGrpSpPr>
          <p:cNvPr id="131" name="组合 4"/>
          <p:cNvGrpSpPr/>
          <p:nvPr/>
        </p:nvGrpSpPr>
        <p:grpSpPr>
          <a:xfrm>
            <a:off x="4416137" y="1272911"/>
            <a:ext cx="2497009" cy="3349212"/>
            <a:chOff x="4325816" y="1628800"/>
            <a:chExt cx="2497009" cy="3349212"/>
          </a:xfrm>
        </p:grpSpPr>
        <p:sp>
          <p:nvSpPr>
            <p:cNvPr id="135" name="未知"/>
            <p:cNvSpPr/>
            <p:nvPr/>
          </p:nvSpPr>
          <p:spPr bwMode="auto">
            <a:xfrm>
              <a:off x="4580276" y="1628800"/>
              <a:ext cx="2242549" cy="3349212"/>
            </a:xfrm>
            <a:custGeom>
              <a:gdLst>
                <a:gd name="T0" fmla="*/ 150 w 174"/>
                <a:gd name="T1" fmla="*/ 260 h 260"/>
                <a:gd name="T2" fmla="*/ 174 w 174"/>
                <a:gd name="T3" fmla="*/ 174 h 260"/>
                <a:gd name="T4" fmla="*/ 0 w 174"/>
                <a:gd name="T5" fmla="*/ 0 h 260"/>
                <a:gd name="T6" fmla="*/ 0 w 174"/>
                <a:gd name="T7" fmla="*/ 174 h 260"/>
                <a:gd name="T8" fmla="*/ 150 w 174"/>
                <a:gd name="T9" fmla="*/ 260 h 26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260">
                  <a:moveTo>
                    <a:pt x="150" y="260"/>
                  </a:moveTo>
                  <a:cubicBezTo>
                    <a:pt x="165" y="234"/>
                    <a:pt x="174" y="204"/>
                    <a:pt x="174" y="174"/>
                  </a:cubicBezTo>
                  <a:cubicBezTo>
                    <a:pt x="174" y="77"/>
                    <a:pt x="96" y="0"/>
                    <a:pt x="0" y="0"/>
                  </a:cubicBezTo>
                  <a:lnTo>
                    <a:pt x="0" y="174"/>
                  </a:lnTo>
                  <a:lnTo>
                    <a:pt x="150" y="26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36" name="AutoShape 8"/>
            <p:cNvSpPr>
              <a:spLocks noChangeArrowheads="1"/>
            </p:cNvSpPr>
            <p:nvPr/>
          </p:nvSpPr>
          <p:spPr bwMode="auto">
            <a:xfrm rot="13500000">
              <a:off x="4327895" y="1752910"/>
              <a:ext cx="506830" cy="510987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37" name="WordArt 13"/>
            <p:cNvSpPr>
              <a:spLocks noChangeArrowheads="1" noChangeShapeType="1"/>
            </p:cNvSpPr>
            <p:nvPr/>
          </p:nvSpPr>
          <p:spPr bwMode="auto">
            <a:xfrm rot="3536091">
              <a:off x="5602270" y="2938279"/>
              <a:ext cx="1137781" cy="19032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080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0" cap="none" spc="0" normalizeH="0" baseline="0" noProof="0" smtClean="0">
                  <a:ln>
                    <a:noFill/>
                  </a:ln>
                  <a:solidFill>
                    <a:srgbClr val="888888"/>
                  </a:solidFill>
                  <a:effectLst/>
                  <a:uLnTx/>
                  <a:uFillTx/>
                  <a:latin typeface="微软雅黑" pitchFamily="34" charset="-122"/>
                  <a:ea typeface="宋体" charset="-122"/>
                </a:rPr>
                <a:t>绿色能源经济</a:t>
              </a:r>
              <a:endParaRPr kumimoji="0" lang="zh-CN" altLang="en-US" sz="1400" b="0" i="0" u="none" strike="noStrike" kern="1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38" name="组合 8"/>
          <p:cNvGrpSpPr/>
          <p:nvPr/>
        </p:nvGrpSpPr>
        <p:grpSpPr>
          <a:xfrm>
            <a:off x="2411497" y="1274979"/>
            <a:ext cx="2254962" cy="3405068"/>
            <a:chOff x="2321176" y="1630868"/>
            <a:chExt cx="2254962" cy="3405068"/>
          </a:xfrm>
        </p:grpSpPr>
        <p:sp>
          <p:nvSpPr>
            <p:cNvPr id="139" name="未知"/>
            <p:cNvSpPr/>
            <p:nvPr/>
          </p:nvSpPr>
          <p:spPr bwMode="auto">
            <a:xfrm>
              <a:off x="2321176" y="1630868"/>
              <a:ext cx="2254962" cy="3349214"/>
            </a:xfrm>
            <a:custGeom>
              <a:gdLst>
                <a:gd name="T0" fmla="*/ 174 w 175"/>
                <a:gd name="T1" fmla="*/ 0 h 260"/>
                <a:gd name="T2" fmla="*/ 1 w 175"/>
                <a:gd name="T3" fmla="*/ 173 h 260"/>
                <a:gd name="T4" fmla="*/ 24 w 175"/>
                <a:gd name="T5" fmla="*/ 260 h 260"/>
                <a:gd name="T6" fmla="*/ 175 w 175"/>
                <a:gd name="T7" fmla="*/ 174 h 260"/>
                <a:gd name="T8" fmla="*/ 174 w 175"/>
                <a:gd name="T9" fmla="*/ 0 h 26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60">
                  <a:moveTo>
                    <a:pt x="174" y="0"/>
                  </a:moveTo>
                  <a:cubicBezTo>
                    <a:pt x="78" y="0"/>
                    <a:pt x="1" y="77"/>
                    <a:pt x="1" y="173"/>
                  </a:cubicBezTo>
                  <a:cubicBezTo>
                    <a:pt x="0" y="204"/>
                    <a:pt x="9" y="234"/>
                    <a:pt x="24" y="260"/>
                  </a:cubicBezTo>
                  <a:lnTo>
                    <a:pt x="175" y="174"/>
                  </a:lnTo>
                  <a:lnTo>
                    <a:pt x="174" y="0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1"/>
            </a:gradFill>
            <a:ln w="19050" cap="flat" cmpd="sng">
              <a:solidFill>
                <a:srgbClr val="FFFFFF"/>
              </a:solidFill>
              <a:rou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40" name="AutoShape 7"/>
            <p:cNvSpPr>
              <a:spLocks noChangeArrowheads="1"/>
            </p:cNvSpPr>
            <p:nvPr/>
          </p:nvSpPr>
          <p:spPr bwMode="auto">
            <a:xfrm rot="6300000">
              <a:off x="2703908" y="4527029"/>
              <a:ext cx="506829" cy="510986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41" name="WordArt 14"/>
            <p:cNvSpPr>
              <a:spLocks noChangeArrowheads="1" noChangeShapeType="1"/>
            </p:cNvSpPr>
            <p:nvPr/>
          </p:nvSpPr>
          <p:spPr bwMode="auto">
            <a:xfrm rot="18000000">
              <a:off x="2503249" y="2938279"/>
              <a:ext cx="1137781" cy="19032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080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 kern="10">
                  <a:solidFill>
                    <a:srgbClr val="888888"/>
                  </a:solidFill>
                  <a:latin typeface="微软雅黑" pitchFamily="34" charset="-122"/>
                  <a:ea typeface="宋体" charset="-122"/>
                </a:rPr>
                <a:t>太阳能雨伞</a:t>
              </a:r>
              <a:endParaRPr kumimoji="0" lang="zh-CN" altLang="en-US" sz="1400" b="0" i="0" u="none" strike="noStrike" kern="1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42" name="组合 12"/>
          <p:cNvGrpSpPr/>
          <p:nvPr/>
        </p:nvGrpSpPr>
        <p:grpSpPr>
          <a:xfrm>
            <a:off x="2717676" y="3513304"/>
            <a:ext cx="3885155" cy="2225913"/>
            <a:chOff x="2627355" y="3869193"/>
            <a:chExt cx="3885155" cy="2225913"/>
          </a:xfrm>
        </p:grpSpPr>
        <p:sp>
          <p:nvSpPr>
            <p:cNvPr id="143" name="未知"/>
            <p:cNvSpPr/>
            <p:nvPr/>
          </p:nvSpPr>
          <p:spPr bwMode="auto">
            <a:xfrm>
              <a:off x="2627355" y="3869193"/>
              <a:ext cx="3885155" cy="2225913"/>
            </a:xfrm>
            <a:custGeom>
              <a:gdLst>
                <a:gd name="T0" fmla="*/ 0 w 301"/>
                <a:gd name="T1" fmla="*/ 86 h 173"/>
                <a:gd name="T2" fmla="*/ 151 w 301"/>
                <a:gd name="T3" fmla="*/ 173 h 173"/>
                <a:gd name="T4" fmla="*/ 301 w 301"/>
                <a:gd name="T5" fmla="*/ 86 h 173"/>
                <a:gd name="T6" fmla="*/ 151 w 301"/>
                <a:gd name="T7" fmla="*/ 0 h 173"/>
                <a:gd name="T8" fmla="*/ 0 w 301"/>
                <a:gd name="T9" fmla="*/ 86 h 173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73">
                  <a:moveTo>
                    <a:pt x="0" y="86"/>
                  </a:moveTo>
                  <a:cubicBezTo>
                    <a:pt x="31" y="140"/>
                    <a:pt x="88" y="173"/>
                    <a:pt x="151" y="173"/>
                  </a:cubicBezTo>
                  <a:cubicBezTo>
                    <a:pt x="213" y="173"/>
                    <a:pt x="270" y="140"/>
                    <a:pt x="301" y="86"/>
                  </a:cubicBezTo>
                  <a:lnTo>
                    <a:pt x="151" y="0"/>
                  </a:lnTo>
                  <a:lnTo>
                    <a:pt x="0" y="86"/>
                  </a:lnTo>
                  <a:close/>
                </a:path>
              </a:pathLst>
            </a:custGeom>
            <a:gradFill rotWithShape="1">
              <a:gsLst>
                <a:gs pos="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85000"/>
                  </a:sysClr>
                </a:gs>
              </a:gsLst>
              <a:lin ang="5400000" scaled="0"/>
            </a:gradFill>
            <a:ln w="19050" cap="flat" cmpd="sng">
              <a:solidFill>
                <a:srgbClr val="FFFFFF"/>
              </a:solidFill>
              <a:rou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44" name="AutoShape 9"/>
            <p:cNvSpPr>
              <a:spLocks noChangeArrowheads="1"/>
            </p:cNvSpPr>
            <p:nvPr/>
          </p:nvSpPr>
          <p:spPr bwMode="auto">
            <a:xfrm rot="20700000">
              <a:off x="5943596" y="4539450"/>
              <a:ext cx="506850" cy="510968"/>
            </a:xfrm>
            <a:prstGeom prst="rtTriangle">
              <a:avLst/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45" name="WordArt 15"/>
            <p:cNvSpPr>
              <a:spLocks noChangeArrowheads="1" noChangeShapeType="1"/>
            </p:cNvSpPr>
            <p:nvPr/>
          </p:nvSpPr>
          <p:spPr bwMode="auto">
            <a:xfrm>
              <a:off x="3998950" y="5544834"/>
              <a:ext cx="1137825" cy="19032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spcFirstLastPara="1" wrap="none" fromWordArt="1">
              <a:prstTxWarp prst="textArchDown">
                <a:avLst>
                  <a:gd name="adj" fmla="val 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0" cap="none" spc="0" normalizeH="0" baseline="0" noProof="0" smtClean="0">
                  <a:ln>
                    <a:noFill/>
                  </a:ln>
                  <a:solidFill>
                    <a:srgbClr val="888888"/>
                  </a:solidFill>
                  <a:effectLst/>
                  <a:uLnTx/>
                  <a:uFillTx/>
                  <a:latin typeface="微软雅黑" pitchFamily="34" charset="-122"/>
                  <a:ea typeface="宋体" charset="-122"/>
                </a:rPr>
                <a:t>创新型产品</a:t>
              </a:r>
              <a:endParaRPr kumimoji="0" lang="zh-CN" altLang="en-US" sz="1400" b="0" i="0" u="none" strike="noStrike" kern="1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46" name="组合 16"/>
          <p:cNvGrpSpPr/>
          <p:nvPr/>
        </p:nvGrpSpPr>
        <p:grpSpPr>
          <a:xfrm>
            <a:off x="3160393" y="1992816"/>
            <a:ext cx="3045233" cy="3036841"/>
            <a:chOff x="3070072" y="2348705"/>
            <a:chExt cx="3045233" cy="3036841"/>
          </a:xfrm>
        </p:grpSpPr>
        <p:grpSp>
          <p:nvGrpSpPr>
            <p:cNvPr id="147" name="组合 17"/>
            <p:cNvGrpSpPr/>
            <p:nvPr/>
          </p:nvGrpSpPr>
          <p:grpSpPr>
            <a:xfrm>
              <a:off x="3070072" y="2348705"/>
              <a:ext cx="3045233" cy="3036841"/>
              <a:chOff x="3070072" y="2348705"/>
              <a:chExt cx="3045233" cy="3036841"/>
            </a:xfrm>
          </p:grpSpPr>
          <p:grpSp>
            <p:nvGrpSpPr>
              <p:cNvPr id="149" name="Group 10"/>
              <p:cNvGrpSpPr/>
              <p:nvPr/>
            </p:nvGrpSpPr>
            <p:grpSpPr>
              <a:xfrm rot="650306">
                <a:off x="3070072" y="2348705"/>
                <a:ext cx="3045233" cy="3036841"/>
                <a:chExt cx="1136" cy="1134"/>
              </a:xfrm>
            </p:grpSpPr>
            <p:sp>
              <p:nvSpPr>
                <p:cNvPr id="151" name="Oval 11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36" cy="113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50000">
                      <a:srgbClr val="FFFFFF"/>
                    </a:gs>
                    <a:gs pos="100000">
                      <a:srgbClr val="C0C0C0"/>
                    </a:gs>
                  </a:gsLst>
                  <a:lin ang="2700000" scaled="1"/>
                </a:gradFill>
                <a:ln w="9525" cmpd="sng">
                  <a:solidFill>
                    <a:srgbClr val="C0C0C0"/>
                  </a:solidFill>
                  <a:rou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宋体" charset="-122"/>
                  </a:endParaRPr>
                </a:p>
              </p:txBody>
            </p:sp>
            <p:sp>
              <p:nvSpPr>
                <p:cNvPr id="152" name="Oval 12"/>
                <p:cNvSpPr>
                  <a:spLocks noChangeArrowheads="1"/>
                </p:cNvSpPr>
                <p:nvPr/>
              </p:nvSpPr>
              <p:spPr bwMode="auto">
                <a:xfrm>
                  <a:off x="64" y="62"/>
                  <a:ext cx="1008" cy="1010"/>
                </a:xfrm>
                <a:prstGeom prst="ellipse">
                  <a:avLst/>
                </a:prstGeom>
                <a:solidFill>
                  <a:srgbClr val="00B0F0"/>
                </a:solidFill>
                <a:ln w="9525" cmpd="sng">
                  <a:solidFill>
                    <a:srgbClr val="2676FF"/>
                  </a:solidFill>
                  <a:rou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 pitchFamily="34" charset="-122"/>
                    <a:ea typeface="宋体" charset="-122"/>
                  </a:endParaRPr>
                </a:p>
              </p:txBody>
            </p:sp>
          </p:grpSp>
          <p:sp>
            <p:nvSpPr>
              <p:cNvPr id="150" name="未知"/>
              <p:cNvSpPr/>
              <p:nvPr/>
            </p:nvSpPr>
            <p:spPr bwMode="auto">
              <a:xfrm>
                <a:off x="3454864" y="2545330"/>
                <a:ext cx="2265305" cy="1088132"/>
              </a:xfrm>
              <a:custGeom>
                <a:gdLst>
                  <a:gd name="T0" fmla="*/ 1301 w 1321"/>
                  <a:gd name="T1" fmla="*/ 401 h 712"/>
                  <a:gd name="T2" fmla="*/ 1317 w 1321"/>
                  <a:gd name="T3" fmla="*/ 442 h 712"/>
                  <a:gd name="T4" fmla="*/ 1321 w 1321"/>
                  <a:gd name="T5" fmla="*/ 481 h 712"/>
                  <a:gd name="T6" fmla="*/ 1315 w 1321"/>
                  <a:gd name="T7" fmla="*/ 516 h 712"/>
                  <a:gd name="T8" fmla="*/ 1298 w 1321"/>
                  <a:gd name="T9" fmla="*/ 550 h 712"/>
                  <a:gd name="T10" fmla="*/ 1272 w 1321"/>
                  <a:gd name="T11" fmla="*/ 579 h 712"/>
                  <a:gd name="T12" fmla="*/ 1239 w 1321"/>
                  <a:gd name="T13" fmla="*/ 604 h 712"/>
                  <a:gd name="T14" fmla="*/ 1196 w 1321"/>
                  <a:gd name="T15" fmla="*/ 628 h 712"/>
                  <a:gd name="T16" fmla="*/ 1147 w 1321"/>
                  <a:gd name="T17" fmla="*/ 649 h 712"/>
                  <a:gd name="T18" fmla="*/ 1092 w 1321"/>
                  <a:gd name="T19" fmla="*/ 667 h 712"/>
                  <a:gd name="T20" fmla="*/ 1031 w 1321"/>
                  <a:gd name="T21" fmla="*/ 683 h 712"/>
                  <a:gd name="T22" fmla="*/ 967 w 1321"/>
                  <a:gd name="T23" fmla="*/ 694 h 712"/>
                  <a:gd name="T24" fmla="*/ 896 w 1321"/>
                  <a:gd name="T25" fmla="*/ 704 h 712"/>
                  <a:gd name="T26" fmla="*/ 824 w 1321"/>
                  <a:gd name="T27" fmla="*/ 710 h 712"/>
                  <a:gd name="T28" fmla="*/ 795 w 1321"/>
                  <a:gd name="T29" fmla="*/ 712 h 712"/>
                  <a:gd name="T30" fmla="*/ 476 w 1321"/>
                  <a:gd name="T31" fmla="*/ 712 h 712"/>
                  <a:gd name="T32" fmla="*/ 472 w 1321"/>
                  <a:gd name="T33" fmla="*/ 712 h 712"/>
                  <a:gd name="T34" fmla="*/ 409 w 1321"/>
                  <a:gd name="T35" fmla="*/ 708 h 712"/>
                  <a:gd name="T36" fmla="*/ 348 w 1321"/>
                  <a:gd name="T37" fmla="*/ 704 h 712"/>
                  <a:gd name="T38" fmla="*/ 290 w 1321"/>
                  <a:gd name="T39" fmla="*/ 696 h 712"/>
                  <a:gd name="T40" fmla="*/ 235 w 1321"/>
                  <a:gd name="T41" fmla="*/ 689 h 712"/>
                  <a:gd name="T42" fmla="*/ 186 w 1321"/>
                  <a:gd name="T43" fmla="*/ 677 h 712"/>
                  <a:gd name="T44" fmla="*/ 141 w 1321"/>
                  <a:gd name="T45" fmla="*/ 663 h 712"/>
                  <a:gd name="T46" fmla="*/ 102 w 1321"/>
                  <a:gd name="T47" fmla="*/ 648 h 712"/>
                  <a:gd name="T48" fmla="*/ 67 w 1321"/>
                  <a:gd name="T49" fmla="*/ 630 h 712"/>
                  <a:gd name="T50" fmla="*/ 39 w 1321"/>
                  <a:gd name="T51" fmla="*/ 608 h 712"/>
                  <a:gd name="T52" fmla="*/ 18 w 1321"/>
                  <a:gd name="T53" fmla="*/ 583 h 712"/>
                  <a:gd name="T54" fmla="*/ 6 w 1321"/>
                  <a:gd name="T55" fmla="*/ 554 h 712"/>
                  <a:gd name="T56" fmla="*/ 0 w 1321"/>
                  <a:gd name="T57" fmla="*/ 524 h 712"/>
                  <a:gd name="T58" fmla="*/ 0 w 1321"/>
                  <a:gd name="T59" fmla="*/ 520 h 712"/>
                  <a:gd name="T60" fmla="*/ 4 w 1321"/>
                  <a:gd name="T61" fmla="*/ 487 h 712"/>
                  <a:gd name="T62" fmla="*/ 16 w 1321"/>
                  <a:gd name="T63" fmla="*/ 446 h 712"/>
                  <a:gd name="T64" fmla="*/ 51 w 1321"/>
                  <a:gd name="T65" fmla="*/ 370 h 712"/>
                  <a:gd name="T66" fmla="*/ 94 w 1321"/>
                  <a:gd name="T67" fmla="*/ 299 h 712"/>
                  <a:gd name="T68" fmla="*/ 147 w 1321"/>
                  <a:gd name="T69" fmla="*/ 235 h 712"/>
                  <a:gd name="T70" fmla="*/ 204 w 1321"/>
                  <a:gd name="T71" fmla="*/ 176 h 712"/>
                  <a:gd name="T72" fmla="*/ 270 w 1321"/>
                  <a:gd name="T73" fmla="*/ 125 h 712"/>
                  <a:gd name="T74" fmla="*/ 341 w 1321"/>
                  <a:gd name="T75" fmla="*/ 82 h 712"/>
                  <a:gd name="T76" fmla="*/ 415 w 1321"/>
                  <a:gd name="T77" fmla="*/ 47 h 712"/>
                  <a:gd name="T78" fmla="*/ 497 w 1321"/>
                  <a:gd name="T79" fmla="*/ 21 h 712"/>
                  <a:gd name="T80" fmla="*/ 581 w 1321"/>
                  <a:gd name="T81" fmla="*/ 6 h 712"/>
                  <a:gd name="T82" fmla="*/ 667 w 1321"/>
                  <a:gd name="T83" fmla="*/ 0 h 712"/>
                  <a:gd name="T84" fmla="*/ 667 w 1321"/>
                  <a:gd name="T85" fmla="*/ 0 h 712"/>
                  <a:gd name="T86" fmla="*/ 759 w 1321"/>
                  <a:gd name="T87" fmla="*/ 6 h 712"/>
                  <a:gd name="T88" fmla="*/ 847 w 1321"/>
                  <a:gd name="T89" fmla="*/ 23 h 712"/>
                  <a:gd name="T90" fmla="*/ 932 w 1321"/>
                  <a:gd name="T91" fmla="*/ 53 h 712"/>
                  <a:gd name="T92" fmla="*/ 1010 w 1321"/>
                  <a:gd name="T93" fmla="*/ 90 h 712"/>
                  <a:gd name="T94" fmla="*/ 1082 w 1321"/>
                  <a:gd name="T95" fmla="*/ 137 h 712"/>
                  <a:gd name="T96" fmla="*/ 1149 w 1321"/>
                  <a:gd name="T97" fmla="*/ 194 h 712"/>
                  <a:gd name="T98" fmla="*/ 1208 w 1321"/>
                  <a:gd name="T99" fmla="*/ 256 h 712"/>
                  <a:gd name="T100" fmla="*/ 1258 w 1321"/>
                  <a:gd name="T101" fmla="*/ 325 h 712"/>
                  <a:gd name="T102" fmla="*/ 1301 w 1321"/>
                  <a:gd name="T103" fmla="*/ 401 h 712"/>
                  <a:gd name="T104" fmla="*/ 1301 w 1321"/>
                  <a:gd name="T105" fmla="*/ 401 h 712"/>
                </a:gdLst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3881FF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宋体" charset="-122"/>
                </a:endParaRPr>
              </a:p>
            </p:txBody>
          </p:sp>
        </p:grpSp>
        <p:sp>
          <p:nvSpPr>
            <p:cNvPr id="148" name="WordArt 17"/>
            <p:cNvSpPr>
              <a:spLocks noChangeArrowheads="1" noChangeShapeType="1"/>
            </p:cNvSpPr>
            <p:nvPr/>
          </p:nvSpPr>
          <p:spPr bwMode="auto">
            <a:xfrm>
              <a:off x="3982400" y="3410000"/>
              <a:ext cx="1249539" cy="794322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400" b="1" kern="0">
                  <a:ln w="9525" cmpd="sng">
                    <a:solidFill>
                      <a:srgbClr val="FFFFFF"/>
                    </a:solidFill>
                    <a:rou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产品</a:t>
              </a:r>
              <a:endParaRPr lang="en-US" altLang="zh-CN" sz="2400" b="1" kern="0" noProof="0" smtClean="0">
                <a:ln w="9525" cmpd="sng">
                  <a:solidFill>
                    <a:srgbClr val="FFFFFF"/>
                  </a:solidFill>
                  <a:rou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400" b="1" kern="0" noProof="0" smtClean="0">
                  <a:ln w="9525" cmpd="sng">
                    <a:solidFill>
                      <a:srgbClr val="FFFFFF"/>
                    </a:solidFill>
                    <a:round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定位</a:t>
              </a:r>
              <a:endParaRPr kumimoji="0" lang="zh-CN" altLang="en-US" sz="2400" b="1" i="0" u="none" strike="noStrike" kern="0" cap="none" spc="0" normalizeH="0" baseline="0" noProof="0">
                <a:ln w="9525" cmpd="sng">
                  <a:solidFill>
                    <a:srgbClr val="FFFFFF"/>
                  </a:solidFill>
                  <a:round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53" name="组合 152"/>
          <p:cNvGrpSpPr/>
          <p:nvPr/>
        </p:nvGrpSpPr>
        <p:grpSpPr>
          <a:xfrm>
            <a:off x="7130367" y="2366995"/>
            <a:ext cx="2439987" cy="2339975"/>
            <a:chOff x="7015207" y="2295939"/>
            <a:chExt cx="2440264" cy="2340000"/>
          </a:xfrm>
        </p:grpSpPr>
        <p:sp>
          <p:nvSpPr>
            <p:cNvPr id="154" name="AutoShape 60"/>
            <p:cNvSpPr>
              <a:spLocks noChangeArrowheads="1"/>
            </p:cNvSpPr>
            <p:nvPr/>
          </p:nvSpPr>
          <p:spPr bwMode="auto">
            <a:xfrm>
              <a:off x="7015207" y="2295939"/>
              <a:ext cx="2440264" cy="2340000"/>
            </a:xfrm>
            <a:prstGeom prst="rightArrow">
              <a:avLst>
                <a:gd name="adj1" fmla="val 69473"/>
                <a:gd name="adj2" fmla="val 42204"/>
              </a:avLst>
            </a:prstGeom>
            <a:solidFill>
              <a:schemeClr val="bg1">
                <a:alpha val="6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/>
                </a:tabLst>
                <a:defRPr/>
              </a:pPr>
              <a:endParaRPr lang="zh-CN" altLang="en-US" sz="1400">
                <a:solidFill>
                  <a:prstClr val="white"/>
                </a:solidFill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55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8899451" y="3310528"/>
              <a:ext cx="396000" cy="360000"/>
            </a:xfrm>
            <a:prstGeom prst="chevron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prstClr val="white"/>
                </a:solidFill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56" name="组合 26"/>
          <p:cNvGrpSpPr>
            <a:grpSpLocks noChangeAspect="1"/>
          </p:cNvGrpSpPr>
          <p:nvPr/>
        </p:nvGrpSpPr>
        <p:grpSpPr>
          <a:xfrm>
            <a:off x="7344679" y="3084536"/>
            <a:ext cx="1509713" cy="954107"/>
            <a:chOff x="1317289" y="2377534"/>
            <a:chExt cx="415318" cy="2878188"/>
          </a:xfrm>
        </p:grpSpPr>
        <p:sp>
          <p:nvSpPr>
            <p:cNvPr id="157" name="圆角矩形 156"/>
            <p:cNvSpPr/>
            <p:nvPr/>
          </p:nvSpPr>
          <p:spPr>
            <a:xfrm>
              <a:off x="131728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58" name="矩形 14"/>
            <p:cNvSpPr>
              <a:spLocks noChangeArrowheads="1"/>
            </p:cNvSpPr>
            <p:nvPr/>
          </p:nvSpPr>
          <p:spPr bwMode="auto">
            <a:xfrm>
              <a:off x="1324804" y="2390026"/>
              <a:ext cx="400287" cy="285320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zh-CN" altLang="en-US" sz="2800" smtClean="0">
                  <a:solidFill>
                    <a:prstClr val="white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宋体" charset="-122"/>
                </a:rPr>
                <a:t>产品</a:t>
              </a:r>
              <a:endParaRPr kumimoji="1" lang="en-US" altLang="zh-CN" sz="2800" smtClean="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宋体" charset="-122"/>
              </a:endParaRPr>
            </a:p>
            <a:p>
              <a:pPr algn="ctr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zh-CN" altLang="en-US" sz="2800" smtClean="0">
                  <a:solidFill>
                    <a:prstClr val="white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宋体" charset="-122"/>
                </a:rPr>
                <a:t>特点</a:t>
              </a:r>
              <a:endParaRPr kumimoji="1" lang="zh-CN" altLang="en-US" sz="280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59" name="组合 158"/>
          <p:cNvGrpSpPr/>
          <p:nvPr/>
        </p:nvGrpSpPr>
        <p:grpSpPr>
          <a:xfrm>
            <a:off x="9557011" y="2519672"/>
            <a:ext cx="2411670" cy="750210"/>
            <a:chOff x="9556235" y="2519454"/>
            <a:chExt cx="2411642" cy="751007"/>
          </a:xfrm>
        </p:grpSpPr>
        <p:sp>
          <p:nvSpPr>
            <p:cNvPr id="160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/>
                </a:tabLst>
                <a:defRPr/>
              </a:pPr>
              <a:endParaRPr lang="zh-CN" altLang="en-US" sz="1400">
                <a:solidFill>
                  <a:prstClr val="black"/>
                </a:solidFill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61" name="Text Box 18"/>
            <p:cNvSpPr txBox="1">
              <a:spLocks noChangeArrowheads="1"/>
            </p:cNvSpPr>
            <p:nvPr/>
          </p:nvSpPr>
          <p:spPr bwMode="gray">
            <a:xfrm>
              <a:off x="9649059" y="2587727"/>
              <a:ext cx="2319978" cy="549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>
                  <a:solidFill>
                    <a:srgbClr val="44546A"/>
                  </a:solidFill>
                  <a:latin typeface="微软雅黑" pitchFamily="34" charset="-122"/>
                  <a:ea typeface="宋体" charset="-122"/>
                </a:rPr>
                <a:t>太阳能电池发电</a:t>
              </a:r>
            </a:p>
          </p:txBody>
        </p:sp>
      </p:grpSp>
      <p:grpSp>
        <p:nvGrpSpPr>
          <p:cNvPr id="162" name="组合 161"/>
          <p:cNvGrpSpPr/>
          <p:nvPr/>
        </p:nvGrpSpPr>
        <p:grpSpPr>
          <a:xfrm>
            <a:off x="9557010" y="3662802"/>
            <a:ext cx="2340027" cy="750210"/>
            <a:chOff x="9556235" y="3661832"/>
            <a:chExt cx="2340000" cy="751007"/>
          </a:xfrm>
        </p:grpSpPr>
        <p:sp>
          <p:nvSpPr>
            <p:cNvPr id="163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9556235" y="3661832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/>
                </a:tabLst>
                <a:defRPr/>
              </a:pPr>
              <a:endParaRPr lang="zh-CN" altLang="en-US" sz="1400">
                <a:solidFill>
                  <a:prstClr val="black"/>
                </a:solidFill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164" name="Text Box 18"/>
            <p:cNvSpPr txBox="1">
              <a:spLocks noChangeArrowheads="1"/>
            </p:cNvSpPr>
            <p:nvPr/>
          </p:nvSpPr>
          <p:spPr bwMode="gray">
            <a:xfrm>
              <a:off x="9790252" y="3728399"/>
              <a:ext cx="1871964" cy="549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 smtClean="0">
                  <a:solidFill>
                    <a:srgbClr val="44546A"/>
                  </a:solidFill>
                  <a:latin typeface="微软雅黑" pitchFamily="34" charset="-122"/>
                  <a:ea typeface="宋体" charset="-122"/>
                </a:rPr>
                <a:t>调节伞下温度</a:t>
              </a:r>
              <a:endParaRPr lang="zh-CN" altLang="en-US" sz="2000" b="1">
                <a:solidFill>
                  <a:srgbClr val="44546A"/>
                </a:solidFill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09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 b="1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10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11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12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13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15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08" name="灯片编号占位符 10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4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114120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00044" y="770981"/>
            <a:ext cx="1489293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Second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 flipH="1">
            <a:off x="9623897" y="5268203"/>
            <a:ext cx="1420700" cy="1479820"/>
            <a:chOff x="2295934" y="5308894"/>
            <a:chExt cx="1420700" cy="1479820"/>
          </a:xfrm>
        </p:grpSpPr>
        <p:pic>
          <p:nvPicPr>
            <p:cNvPr id="210" name="图片 20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588" y="5557668"/>
              <a:ext cx="1231046" cy="1231046"/>
            </a:xfrm>
            <a:prstGeom prst="rect">
              <a:avLst/>
            </a:prstGeom>
          </p:spPr>
        </p:pic>
        <p:sp>
          <p:nvSpPr>
            <p:cNvPr id="211" name="Badge"/>
            <p:cNvSpPr>
              <a:spLocks noChangeAspect="1"/>
            </p:cNvSpPr>
            <p:nvPr/>
          </p:nvSpPr>
          <p:spPr bwMode="auto">
            <a:xfrm>
              <a:off x="2295934" y="5308894"/>
              <a:ext cx="859848" cy="859848"/>
            </a:xfrm>
            <a:prstGeom prst="star16">
              <a:avLst>
                <a:gd name="adj" fmla="val 42768"/>
              </a:avLst>
            </a:prstGeom>
            <a:solidFill>
              <a:srgbClr val="FFC000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5400" dir="2699996" rotWithShape="0">
                <a:srgbClr val="A6A6A6">
                  <a:alpha val="4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32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33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34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35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36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37" name="组合 136"/>
          <p:cNvGrpSpPr/>
          <p:nvPr/>
        </p:nvGrpSpPr>
        <p:grpSpPr>
          <a:xfrm>
            <a:off x="831768" y="2124925"/>
            <a:ext cx="4735806" cy="2457188"/>
            <a:chOff x="1056331" y="1810269"/>
            <a:chExt cx="4735806" cy="2457188"/>
          </a:xfrm>
        </p:grpSpPr>
        <p:grpSp>
          <p:nvGrpSpPr>
            <p:cNvPr id="138" name="组合 137"/>
            <p:cNvGrpSpPr/>
            <p:nvPr/>
          </p:nvGrpSpPr>
          <p:grpSpPr>
            <a:xfrm rot="20811416">
              <a:off x="1056331" y="1810269"/>
              <a:ext cx="4735806" cy="2457188"/>
              <a:chOff x="520431" y="1412776"/>
              <a:chExt cx="6080182" cy="3828356"/>
            </a:xfrm>
          </p:grpSpPr>
          <p:sp>
            <p:nvSpPr>
              <p:cNvPr id="140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520431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sp>
            <p:nvSpPr>
              <p:cNvPr id="141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1524855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pic>
            <p:nvPicPr>
              <p:cNvPr id="142" name="图片 141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9712" y="1412776"/>
                <a:ext cx="3721648" cy="3588050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39" name="TextBox 46"/>
            <p:cNvSpPr txBox="1"/>
            <p:nvPr/>
          </p:nvSpPr>
          <p:spPr>
            <a:xfrm rot="20587084" flipH="1">
              <a:off x="2578861" y="2313208"/>
              <a:ext cx="2133666" cy="1006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150000"/>
                </a:lnSpc>
                <a:defRPr/>
              </a:pPr>
              <a:r>
                <a:rPr lang="zh-CN" altLang="en-US" sz="2000" kern="0">
                  <a:solidFill>
                    <a:sysClr val="window" lastClr="FFFFFF"/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宏观环境分析</a:t>
              </a:r>
              <a:r>
                <a:rPr lang="en-US" altLang="zh-CN" sz="2000" kern="0">
                  <a:solidFill>
                    <a:sysClr val="window" lastClr="FFFFFF"/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PEST</a:t>
              </a:r>
              <a:endParaRPr kumimoji="0" lang="en-US" altLang="zh-CN" sz="200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grpSp>
        <p:nvGrpSpPr>
          <p:cNvPr id="143" name="组合 142"/>
          <p:cNvGrpSpPr/>
          <p:nvPr/>
        </p:nvGrpSpPr>
        <p:grpSpPr>
          <a:xfrm>
            <a:off x="3392191" y="2097818"/>
            <a:ext cx="4735806" cy="2457188"/>
            <a:chOff x="1056331" y="1810269"/>
            <a:chExt cx="4735806" cy="2457188"/>
          </a:xfrm>
        </p:grpSpPr>
        <p:grpSp>
          <p:nvGrpSpPr>
            <p:cNvPr id="144" name="组合 143"/>
            <p:cNvGrpSpPr/>
            <p:nvPr/>
          </p:nvGrpSpPr>
          <p:grpSpPr>
            <a:xfrm rot="20811416">
              <a:off x="1056331" y="1810269"/>
              <a:ext cx="4735806" cy="2457188"/>
              <a:chOff x="520431" y="1412776"/>
              <a:chExt cx="6080182" cy="3828356"/>
            </a:xfrm>
          </p:grpSpPr>
          <p:sp>
            <p:nvSpPr>
              <p:cNvPr id="146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520431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sp>
            <p:nvSpPr>
              <p:cNvPr id="147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1524855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pic>
            <p:nvPicPr>
              <p:cNvPr id="148" name="图片 14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9712" y="1412776"/>
                <a:ext cx="3721648" cy="3588050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45" name="TextBox 46"/>
            <p:cNvSpPr txBox="1"/>
            <p:nvPr/>
          </p:nvSpPr>
          <p:spPr>
            <a:xfrm rot="20587084" flipH="1">
              <a:off x="2728463" y="2268455"/>
              <a:ext cx="2133666" cy="1006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150000"/>
                </a:lnSpc>
                <a:defRPr/>
              </a:pPr>
              <a:r>
                <a:rPr lang="zh-CN" altLang="en-US" sz="2000" kern="0">
                  <a:solidFill>
                    <a:sysClr val="window" lastClr="FFFFFF"/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行业环境分析波特五力</a:t>
              </a:r>
            </a:p>
          </p:txBody>
        </p:sp>
      </p:grpSp>
      <p:grpSp>
        <p:nvGrpSpPr>
          <p:cNvPr id="149" name="组合 148"/>
          <p:cNvGrpSpPr/>
          <p:nvPr/>
        </p:nvGrpSpPr>
        <p:grpSpPr>
          <a:xfrm>
            <a:off x="5979990" y="2034852"/>
            <a:ext cx="4735806" cy="2457188"/>
            <a:chOff x="1056331" y="1810269"/>
            <a:chExt cx="4735806" cy="2457188"/>
          </a:xfrm>
        </p:grpSpPr>
        <p:grpSp>
          <p:nvGrpSpPr>
            <p:cNvPr id="150" name="组合 149"/>
            <p:cNvGrpSpPr/>
            <p:nvPr/>
          </p:nvGrpSpPr>
          <p:grpSpPr>
            <a:xfrm rot="20811416">
              <a:off x="1056331" y="1810269"/>
              <a:ext cx="4735806" cy="2457188"/>
              <a:chOff x="520431" y="1412776"/>
              <a:chExt cx="6080182" cy="3828356"/>
            </a:xfrm>
          </p:grpSpPr>
          <p:sp>
            <p:nvSpPr>
              <p:cNvPr id="152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520431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sp>
            <p:nvSpPr>
              <p:cNvPr id="153" name="Oval 65"/>
              <p:cNvSpPr>
                <a:spLocks noChangeArrowheads="1"/>
              </p:cNvSpPr>
              <p:nvPr/>
            </p:nvSpPr>
            <p:spPr bwMode="auto">
              <a:xfrm rot="10184394" flipV="1">
                <a:off x="1524855" y="4233020"/>
                <a:ext cx="5075758" cy="1008112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lumMod val="75000"/>
                      <a:lumOff val="25000"/>
                    </a:sysClr>
                  </a:gs>
                  <a:gs pos="100000">
                    <a:srgbClr val="EEECE1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宋体" charset="-122"/>
                </a:endParaRPr>
              </a:p>
            </p:txBody>
          </p:sp>
          <p:pic>
            <p:nvPicPr>
              <p:cNvPr id="154" name="图片 15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9712" y="1412776"/>
                <a:ext cx="3721648" cy="3588050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51" name="TextBox 46"/>
            <p:cNvSpPr txBox="1"/>
            <p:nvPr/>
          </p:nvSpPr>
          <p:spPr>
            <a:xfrm rot="20587084" flipH="1">
              <a:off x="2537584" y="2542942"/>
              <a:ext cx="2133666" cy="549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150000"/>
                </a:lnSpc>
                <a:defRPr/>
              </a:pPr>
              <a:r>
                <a:rPr lang="en-US" altLang="zh-CN" sz="2000" kern="0">
                  <a:solidFill>
                    <a:sysClr val="window" lastClr="FFFFFF"/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SWOT</a:t>
              </a:r>
              <a:r>
                <a:rPr lang="zh-CN" altLang="en-US" sz="2000" kern="0">
                  <a:solidFill>
                    <a:sysClr val="window" lastClr="FFFFFF"/>
                  </a:solidFill>
                  <a:latin typeface="Arial" pitchFamily="34" charset="0"/>
                  <a:ea typeface="宋体" charset="-122"/>
                  <a:cs typeface="Arial" pitchFamily="34" charset="0"/>
                </a:rPr>
                <a:t>分析</a:t>
              </a:r>
            </a:p>
          </p:txBody>
        </p:sp>
      </p:grpSp>
      <p:sp>
        <p:nvSpPr>
          <p:cNvPr id="179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97" name="灯片编号占位符 9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5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551656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fill="hold" nodeType="withEffect"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fill="hold" nodeType="withEffect"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nodeType="withEffect"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矩形 1"/>
          <p:cNvSpPr/>
          <p:nvPr/>
        </p:nvSpPr>
        <p:spPr>
          <a:xfrm>
            <a:off x="2181045" y="3338359"/>
            <a:ext cx="1952749" cy="2894215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latin typeface="微软雅黑" pitchFamily="34" charset="-122"/>
                <a:ea typeface="宋体" charset="-122"/>
              </a:rPr>
              <a:t>以品质提升价值，做最具价值的绿色能源公司</a:t>
            </a:r>
          </a:p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4577823" y="3338359"/>
            <a:ext cx="1952749" cy="2894215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latin typeface="微软雅黑" pitchFamily="34" charset="-122"/>
                <a:ea typeface="宋体" charset="-122"/>
              </a:rPr>
              <a:t>让每一束阳光成为顾客伞下的绿荫</a:t>
            </a:r>
          </a:p>
          <a:p>
            <a:pPr algn="ctr"/>
            <a:endParaRPr lang="zh-CN" altLang="en-US">
              <a:ea typeface="宋体" charset="-122"/>
            </a:endParaRPr>
          </a:p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6987039" y="3338359"/>
            <a:ext cx="1952749" cy="2894215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latin typeface="微软雅黑" pitchFamily="34" charset="-122"/>
                <a:ea typeface="宋体" charset="-122"/>
              </a:rPr>
              <a:t>诚信、创新、双赢、感恩、合作、高效、分享</a:t>
            </a:r>
          </a:p>
          <a:p>
            <a:pPr algn="ctr"/>
            <a:endParaRPr lang="zh-CN" altLang="en-US">
              <a:ea typeface="宋体" charset="-122"/>
            </a:endParaRPr>
          </a:p>
          <a:p>
            <a:pPr algn="ctr"/>
            <a:endParaRPr lang="zh-CN" altLang="en-US">
              <a:ea typeface="宋体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76330" y="770981"/>
            <a:ext cx="1128570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T</a:t>
            </a: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hird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129" name="组合 128"/>
          <p:cNvGrpSpPr/>
          <p:nvPr/>
        </p:nvGrpSpPr>
        <p:grpSpPr>
          <a:xfrm>
            <a:off x="2109219" y="1411791"/>
            <a:ext cx="2096400" cy="2096400"/>
            <a:chOff x="548490" y="2336000"/>
            <a:chExt cx="2844800" cy="2844800"/>
          </a:xfrm>
        </p:grpSpPr>
        <p:sp>
          <p:nvSpPr>
            <p:cNvPr id="130" name="椭圆 129"/>
            <p:cNvSpPr/>
            <p:nvPr/>
          </p:nvSpPr>
          <p:spPr>
            <a:xfrm>
              <a:off x="548490" y="2336000"/>
              <a:ext cx="2844800" cy="2844800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ea typeface="宋体" charset="-122"/>
              </a:endParaRPr>
            </a:p>
          </p:txBody>
        </p:sp>
        <p:sp>
          <p:nvSpPr>
            <p:cNvPr id="131" name="矩形 130"/>
            <p:cNvSpPr/>
            <p:nvPr/>
          </p:nvSpPr>
          <p:spPr>
            <a:xfrm>
              <a:off x="941686" y="3926575"/>
              <a:ext cx="1352482" cy="78664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3200" b="1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微软雅黑" pitchFamily="34" charset="-122"/>
                  <a:ea typeface="宋体" charset="-122"/>
                  <a:cs typeface="宋体" pitchFamily="2" charset="-122"/>
                </a:rPr>
                <a:t>愿景</a:t>
              </a:r>
              <a:endParaRPr lang="zh-CN" altLang="en-US" sz="320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38" name="组合 137"/>
          <p:cNvGrpSpPr/>
          <p:nvPr/>
        </p:nvGrpSpPr>
        <p:grpSpPr>
          <a:xfrm>
            <a:off x="4505997" y="1441696"/>
            <a:ext cx="2096400" cy="2096400"/>
            <a:chOff x="548490" y="2336000"/>
            <a:chExt cx="2844799" cy="2844800"/>
          </a:xfrm>
        </p:grpSpPr>
        <p:sp>
          <p:nvSpPr>
            <p:cNvPr id="139" name="椭圆 138"/>
            <p:cNvSpPr/>
            <p:nvPr/>
          </p:nvSpPr>
          <p:spPr>
            <a:xfrm>
              <a:off x="548490" y="2336000"/>
              <a:ext cx="2844799" cy="2844800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ea typeface="宋体" charset="-122"/>
              </a:endParaRPr>
            </a:p>
          </p:txBody>
        </p:sp>
        <p:sp>
          <p:nvSpPr>
            <p:cNvPr id="140" name="矩形 139"/>
            <p:cNvSpPr/>
            <p:nvPr/>
          </p:nvSpPr>
          <p:spPr>
            <a:xfrm>
              <a:off x="1294648" y="3501151"/>
              <a:ext cx="1352481" cy="78664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3200" b="1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微软雅黑" pitchFamily="34" charset="-122"/>
                  <a:ea typeface="宋体" charset="-122"/>
                  <a:cs typeface="宋体" pitchFamily="2" charset="-122"/>
                </a:rPr>
                <a:t>使命</a:t>
              </a:r>
              <a:endParaRPr lang="zh-CN" altLang="en-US" sz="320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6915214" y="1441696"/>
            <a:ext cx="2096399" cy="2096400"/>
            <a:chOff x="548490" y="2336000"/>
            <a:chExt cx="2844799" cy="2844800"/>
          </a:xfrm>
        </p:grpSpPr>
        <p:sp>
          <p:nvSpPr>
            <p:cNvPr id="142" name="椭圆 141"/>
            <p:cNvSpPr/>
            <p:nvPr/>
          </p:nvSpPr>
          <p:spPr>
            <a:xfrm>
              <a:off x="548490" y="2336000"/>
              <a:ext cx="2844799" cy="2844800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ea typeface="宋体" charset="-122"/>
              </a:endParaRPr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31370" y="3150608"/>
              <a:ext cx="1904516" cy="78664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3200" b="1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微软雅黑" pitchFamily="34" charset="-122"/>
                  <a:ea typeface="宋体" charset="-122"/>
                  <a:cs typeface="宋体" pitchFamily="2" charset="-122"/>
                </a:rPr>
                <a:t>价值观</a:t>
              </a:r>
              <a:endParaRPr lang="zh-CN" altLang="en-US" sz="320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pic>
        <p:nvPicPr>
          <p:cNvPr id="128" name="Picture 2" descr="targe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8631907" y="2264839"/>
            <a:ext cx="3217594" cy="4423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97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98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99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0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01" name="组合 100"/>
          <p:cNvGrpSpPr/>
          <p:nvPr/>
        </p:nvGrpSpPr>
        <p:grpSpPr>
          <a:xfrm>
            <a:off x="1679463" y="436214"/>
            <a:ext cx="3848050" cy="1173139"/>
            <a:chOff x="2891924" y="507273"/>
            <a:chExt cx="3848050" cy="1173139"/>
          </a:xfrm>
        </p:grpSpPr>
        <p:pic>
          <p:nvPicPr>
            <p:cNvPr id="104" name="图片 10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05" name="矩形 104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企业战略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06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07" name="组合 106"/>
          <p:cNvGrpSpPr/>
          <p:nvPr/>
        </p:nvGrpSpPr>
        <p:grpSpPr>
          <a:xfrm>
            <a:off x="6410369" y="115540"/>
            <a:ext cx="5455316" cy="1104860"/>
            <a:chOff x="6840959" y="-75877"/>
            <a:chExt cx="5455316" cy="1104860"/>
          </a:xfrm>
        </p:grpSpPr>
        <p:pic>
          <p:nvPicPr>
            <p:cNvPr id="108" name="图片 10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86" b="82456"/>
            <a:stretch>
              <a:fillRect/>
            </a:stretch>
          </p:blipFill>
          <p:spPr>
            <a:xfrm>
              <a:off x="6840959" y="-75877"/>
              <a:ext cx="5455316" cy="1104860"/>
            </a:xfrm>
            <a:prstGeom prst="rect">
              <a:avLst/>
            </a:prstGeom>
          </p:spPr>
        </p:pic>
        <p:sp>
          <p:nvSpPr>
            <p:cNvPr id="109" name="矩形 108"/>
            <p:cNvSpPr/>
            <p:nvPr/>
          </p:nvSpPr>
          <p:spPr>
            <a:xfrm>
              <a:off x="7941860" y="317400"/>
              <a:ext cx="1276355" cy="366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[</a:t>
              </a:r>
              <a:r>
                <a:rPr lang="zh-CN" altLang="en-US" b="1">
                  <a:latin typeface="微软雅黑" pitchFamily="34" charset="-122"/>
                  <a:ea typeface="宋体" charset="-122"/>
                </a:rPr>
                <a:t>战略理念</a:t>
              </a: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]</a:t>
              </a:r>
              <a:endParaRPr lang="en-US" altLang="zh-CN" b="1"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95" name="灯片编号占位符 9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6</a:t>
            </a:fld>
            <a:endParaRPr lang="zh-CN" altLang="en-US">
              <a:ea typeface="宋体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7645031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</p:cTn>
                        </p:par>
                        <p:par>
                          <p:cTn id="5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6" presetID="26" presetClass="emph" presetSubtype="0" fill="hold" grpId="3" nodeType="afterEffect">
                                  <p:childTnLst>
                                    <p:animEffect transition="out" filter="fade">
                                      <p:cBhvr>
                                        <p:cTn id="7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1" fill="hold" grpId="0" nodeType="withEffect"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1" fill="hold" grpId="1" nodeType="withEffect"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grpId="2" nodeType="withEffect"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6" presetClass="emph" presetSubtype="0" fill="hold" nodeType="withEffect">
                                  <p:childTnLst>
                                    <p:animEffect transition="out" filter="fade">
                                      <p:cBhvr>
                                        <p:cTn id="50" dur="500" tmFilter="0, 0; .2, .5; .8, .5; 1, 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250" autoRev="1" fill="hold"/>
                                        <p:tgtEl>
                                          <p:spTgt spid="1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2" grpId="1"/>
      <p:bldP spid="103" grpId="2"/>
      <p:bldP spid="85" grpId="3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76331" y="770981"/>
            <a:ext cx="1128570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Third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06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7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08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18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32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82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26" name="组合 125"/>
          <p:cNvGrpSpPr/>
          <p:nvPr/>
        </p:nvGrpSpPr>
        <p:grpSpPr>
          <a:xfrm>
            <a:off x="2074131" y="1226248"/>
            <a:ext cx="3005138" cy="3649662"/>
            <a:chOff x="2074131" y="1226248"/>
            <a:chExt cx="3005138" cy="3649662"/>
          </a:xfrm>
        </p:grpSpPr>
        <p:sp>
          <p:nvSpPr>
            <p:cNvPr id="127" name="AutoShape 5"/>
            <p:cNvSpPr>
              <a:spLocks noChangeArrowheads="1"/>
            </p:cNvSpPr>
            <p:nvPr/>
          </p:nvSpPr>
          <p:spPr bwMode="auto">
            <a:xfrm rot="5400000">
              <a:off x="1964594" y="1761235"/>
              <a:ext cx="3224212" cy="3005138"/>
            </a:xfrm>
            <a:prstGeom prst="flowChartTerminator">
              <a:avLst/>
            </a:prstGeom>
            <a:solidFill>
              <a:schemeClr val="bg1">
                <a:alpha val="89999"/>
              </a:schemeClr>
            </a:solidFill>
            <a:ln w="63500" cmpd="sng">
              <a:solidFill>
                <a:schemeClr val="bg1"/>
              </a:solidFill>
              <a:prstDash val="sysDot"/>
              <a:miter lim="800000"/>
            </a:ln>
            <a:effectLst>
              <a:prstShdw prst="shdw17" dist="17961" dir="2700000">
                <a:srgbClr val="999999"/>
              </a:prstShdw>
            </a:effectLst>
          </p:spPr>
          <p:txBody>
            <a:bodyPr rot="10800000" vert="eaVert" wrap="none" anchor="ctr"/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endParaRPr lang="zh-CN" altLang="en-US" sz="1800">
                <a:ea typeface="宋体" charset="-122"/>
              </a:endParaRPr>
            </a:p>
          </p:txBody>
        </p:sp>
        <p:pic>
          <p:nvPicPr>
            <p:cNvPr id="128" name="Picture 23" descr="0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714" b="52269"/>
            <a:stretch>
              <a:fillRect/>
            </a:stretch>
          </p:blipFill>
          <p:spPr bwMode="auto">
            <a:xfrm>
              <a:off x="2847244" y="1226248"/>
              <a:ext cx="1279525" cy="1327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" name="Rectangle 312"/>
            <p:cNvSpPr>
              <a:spLocks noChangeArrowheads="1"/>
            </p:cNvSpPr>
            <p:nvPr/>
          </p:nvSpPr>
          <p:spPr bwMode="auto">
            <a:xfrm>
              <a:off x="2146574" y="2397858"/>
              <a:ext cx="2784663" cy="366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战略目标</a:t>
              </a:r>
              <a:endParaRPr lang="zh-CN" altLang="en-US" b="1"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56" name="组合 155"/>
          <p:cNvGrpSpPr/>
          <p:nvPr/>
        </p:nvGrpSpPr>
        <p:grpSpPr>
          <a:xfrm>
            <a:off x="6410369" y="115540"/>
            <a:ext cx="5455316" cy="1104860"/>
            <a:chOff x="6840959" y="-75877"/>
            <a:chExt cx="5455316" cy="1104860"/>
          </a:xfrm>
        </p:grpSpPr>
        <p:pic>
          <p:nvPicPr>
            <p:cNvPr id="183" name="图片 18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86" b="82456"/>
            <a:stretch>
              <a:fillRect/>
            </a:stretch>
          </p:blipFill>
          <p:spPr>
            <a:xfrm>
              <a:off x="6840959" y="-75877"/>
              <a:ext cx="5455316" cy="1104860"/>
            </a:xfrm>
            <a:prstGeom prst="rect">
              <a:avLst/>
            </a:prstGeom>
          </p:spPr>
        </p:pic>
        <p:sp>
          <p:nvSpPr>
            <p:cNvPr id="184" name="矩形 183"/>
            <p:cNvSpPr/>
            <p:nvPr/>
          </p:nvSpPr>
          <p:spPr>
            <a:xfrm>
              <a:off x="7941860" y="317400"/>
              <a:ext cx="1276355" cy="366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[</a:t>
              </a:r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竞争战略</a:t>
              </a:r>
              <a:r>
                <a:rPr lang="en-US" altLang="zh-CN" b="1" smtClean="0">
                  <a:latin typeface="微软雅黑" pitchFamily="34" charset="-122"/>
                  <a:ea typeface="宋体" charset="-122"/>
                </a:rPr>
                <a:t>]</a:t>
              </a:r>
              <a:endParaRPr lang="en-US" altLang="zh-CN" b="1">
                <a:latin typeface="微软雅黑" pitchFamily="34" charset="-122"/>
                <a:ea typeface="宋体" charset="-122"/>
              </a:endParaRPr>
            </a:p>
          </p:txBody>
        </p:sp>
      </p:grpSp>
      <p:grpSp>
        <p:nvGrpSpPr>
          <p:cNvPr id="185" name="组合 184"/>
          <p:cNvGrpSpPr/>
          <p:nvPr/>
        </p:nvGrpSpPr>
        <p:grpSpPr>
          <a:xfrm>
            <a:off x="5468206" y="1229423"/>
            <a:ext cx="2884488" cy="3656012"/>
            <a:chOff x="5468206" y="1229423"/>
            <a:chExt cx="2884488" cy="3656012"/>
          </a:xfrm>
        </p:grpSpPr>
        <p:sp>
          <p:nvSpPr>
            <p:cNvPr id="186" name="AutoShape 5"/>
            <p:cNvSpPr>
              <a:spLocks noChangeArrowheads="1"/>
            </p:cNvSpPr>
            <p:nvPr/>
          </p:nvSpPr>
          <p:spPr bwMode="auto">
            <a:xfrm rot="5400000">
              <a:off x="5293581" y="1826323"/>
              <a:ext cx="3233737" cy="2884488"/>
            </a:xfrm>
            <a:prstGeom prst="flowChartTerminator">
              <a:avLst/>
            </a:prstGeom>
            <a:solidFill>
              <a:schemeClr val="bg1">
                <a:alpha val="89999"/>
              </a:schemeClr>
            </a:solidFill>
            <a:ln w="63500" cmpd="sng">
              <a:solidFill>
                <a:schemeClr val="bg1"/>
              </a:solidFill>
              <a:prstDash val="sysDot"/>
              <a:miter lim="800000"/>
            </a:ln>
            <a:effectLst>
              <a:prstShdw prst="shdw17" dist="17961" dir="2700000">
                <a:srgbClr val="999999"/>
              </a:prstShdw>
            </a:effectLst>
          </p:spPr>
          <p:txBody>
            <a:bodyPr rot="10800000" vert="eaVert" wrap="none" anchor="ctr"/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2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endParaRPr lang="zh-CN" altLang="en-US" sz="1800">
                <a:ea typeface="宋体" charset="-122"/>
              </a:endParaRPr>
            </a:p>
          </p:txBody>
        </p:sp>
        <p:pic>
          <p:nvPicPr>
            <p:cNvPr id="187" name="Picture 21" descr="0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3436" b="52269"/>
            <a:stretch>
              <a:fillRect/>
            </a:stretch>
          </p:blipFill>
          <p:spPr bwMode="auto">
            <a:xfrm>
              <a:off x="6255606" y="1229423"/>
              <a:ext cx="1557338" cy="132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8" name="Rectangle 312"/>
            <p:cNvSpPr>
              <a:spLocks noChangeArrowheads="1"/>
            </p:cNvSpPr>
            <p:nvPr/>
          </p:nvSpPr>
          <p:spPr bwMode="auto">
            <a:xfrm>
              <a:off x="5532830" y="2406839"/>
              <a:ext cx="2784663" cy="366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b="1">
                  <a:latin typeface="微软雅黑" pitchFamily="34" charset="-122"/>
                  <a:ea typeface="宋体" charset="-122"/>
                </a:rPr>
                <a:t>企业发展模式</a:t>
              </a:r>
            </a:p>
          </p:txBody>
        </p:sp>
      </p:grpSp>
      <p:grpSp>
        <p:nvGrpSpPr>
          <p:cNvPr id="189" name="组合 188"/>
          <p:cNvGrpSpPr/>
          <p:nvPr/>
        </p:nvGrpSpPr>
        <p:grpSpPr>
          <a:xfrm>
            <a:off x="8757506" y="1221485"/>
            <a:ext cx="3013656" cy="3654418"/>
            <a:chOff x="8757506" y="1221485"/>
            <a:chExt cx="3013656" cy="3654418"/>
          </a:xfrm>
        </p:grpSpPr>
        <p:grpSp>
          <p:nvGrpSpPr>
            <p:cNvPr id="190" name="组合 30"/>
            <p:cNvGrpSpPr/>
            <p:nvPr/>
          </p:nvGrpSpPr>
          <p:grpSpPr>
            <a:xfrm>
              <a:off x="8757506" y="1221485"/>
              <a:ext cx="2933700" cy="3654418"/>
              <a:chExt cx="2934477" cy="3654766"/>
            </a:xfrm>
          </p:grpSpPr>
          <p:sp>
            <p:nvSpPr>
              <p:cNvPr id="192" name="AutoShape 5"/>
              <p:cNvSpPr>
                <a:spLocks noChangeArrowheads="1"/>
              </p:cNvSpPr>
              <p:nvPr/>
            </p:nvSpPr>
            <p:spPr bwMode="auto">
              <a:xfrm rot="5400000">
                <a:off x="-163125" y="557164"/>
                <a:ext cx="3260727" cy="2934477"/>
              </a:xfrm>
              <a:prstGeom prst="flowChartTerminator">
                <a:avLst/>
              </a:prstGeom>
              <a:solidFill>
                <a:schemeClr val="bg1">
                  <a:alpha val="89999"/>
                </a:schemeClr>
              </a:solidFill>
              <a:ln w="63500" cmpd="sng">
                <a:solidFill>
                  <a:schemeClr val="bg1"/>
                </a:solidFill>
                <a:prstDash val="sysDot"/>
                <a:miter lim="800000"/>
              </a:ln>
              <a:effectLst>
                <a:prstShdw prst="shdw17" dist="17961" dir="2700000">
                  <a:srgbClr val="999999"/>
                </a:prstShdw>
              </a:effectLst>
            </p:spPr>
            <p:txBody>
              <a:bodyPr rot="10800000" vert="eaVert" wrap="none" anchor="ctr"/>
              <a:lstStyle>
                <a:lvl1pPr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defRPr sz="2200"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algn="ctr" eaLnBrk="1" hangingPunct="1"/>
                <a:endParaRPr lang="zh-CN" altLang="en-US" sz="1800">
                  <a:ea typeface="宋体" charset="-122"/>
                </a:endParaRPr>
              </a:p>
            </p:txBody>
          </p:sp>
          <p:pic>
            <p:nvPicPr>
              <p:cNvPr id="193" name="Picture 22" descr="02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114" t="52293"/>
              <a:stretch>
                <a:fillRect/>
              </a:stretch>
            </p:blipFill>
            <p:spPr bwMode="auto">
              <a:xfrm>
                <a:off x="885825" y="0"/>
                <a:ext cx="1386025" cy="1449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1" name="Rectangle 312"/>
            <p:cNvSpPr>
              <a:spLocks noChangeArrowheads="1"/>
            </p:cNvSpPr>
            <p:nvPr/>
          </p:nvSpPr>
          <p:spPr bwMode="auto">
            <a:xfrm>
              <a:off x="8989281" y="2453656"/>
              <a:ext cx="2784663" cy="366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b="1">
                  <a:latin typeface="微软雅黑" pitchFamily="34" charset="-122"/>
                  <a:ea typeface="宋体" charset="-122"/>
                </a:rPr>
                <a:t>企业核心竞争力的构建</a:t>
              </a:r>
            </a:p>
          </p:txBody>
        </p:sp>
      </p:grpSp>
      <p:sp>
        <p:nvSpPr>
          <p:cNvPr id="2" name="矩形 1"/>
          <p:cNvSpPr/>
          <p:nvPr/>
        </p:nvSpPr>
        <p:spPr>
          <a:xfrm>
            <a:off x="2146574" y="2874681"/>
            <a:ext cx="2627243" cy="1556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smtClean="0">
                <a:ea typeface="宋体" charset="-122"/>
              </a:rPr>
              <a:t>不断</a:t>
            </a:r>
            <a:r>
              <a:rPr lang="zh-CN" altLang="en-US" sz="1600">
                <a:ea typeface="宋体" charset="-122"/>
              </a:rPr>
              <a:t>改进太阳能电动伞，进一步发展太阳能小型生活用品的</a:t>
            </a:r>
            <a:r>
              <a:rPr lang="zh-CN" altLang="en-US" sz="1600" smtClean="0">
                <a:ea typeface="宋体" charset="-122"/>
              </a:rPr>
              <a:t>开发，承担</a:t>
            </a:r>
            <a:r>
              <a:rPr lang="zh-CN" altLang="en-US" sz="1600">
                <a:ea typeface="宋体" charset="-122"/>
              </a:rPr>
              <a:t>起建设环境友好型社会的责任</a:t>
            </a:r>
            <a:r>
              <a:rPr lang="zh-CN" altLang="en-US" sz="1600" smtClean="0">
                <a:ea typeface="宋体" charset="-122"/>
              </a:rPr>
              <a:t>，力争成为太阳能</a:t>
            </a:r>
            <a:r>
              <a:rPr lang="zh-CN" altLang="en-US" sz="1600">
                <a:ea typeface="宋体" charset="-122"/>
              </a:rPr>
              <a:t>小型生活用品领域的领头</a:t>
            </a:r>
            <a:r>
              <a:rPr lang="zh-CN" altLang="en-US" sz="1600" smtClean="0">
                <a:ea typeface="宋体" charset="-122"/>
              </a:rPr>
              <a:t>羊。</a:t>
            </a:r>
            <a:endParaRPr lang="zh-CN" altLang="en-US" sz="1600">
              <a:ea typeface="宋体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532830" y="2912311"/>
            <a:ext cx="3007593" cy="1556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>
                <a:ea typeface="宋体" charset="-122"/>
              </a:rPr>
              <a:t>本公司成立之初一年内，将在海南大学校园内部进行研发</a:t>
            </a:r>
            <a:r>
              <a:rPr lang="zh-CN" altLang="en-US" sz="1600" smtClean="0">
                <a:ea typeface="宋体" charset="-122"/>
              </a:rPr>
              <a:t>推广。保守</a:t>
            </a:r>
            <a:r>
              <a:rPr lang="zh-CN" altLang="en-US" sz="1600">
                <a:ea typeface="宋体" charset="-122"/>
              </a:rPr>
              <a:t>估计，成立之初年销售量</a:t>
            </a:r>
            <a:r>
              <a:rPr lang="en-US" altLang="zh-CN" sz="1600">
                <a:ea typeface="宋体" charset="-122"/>
              </a:rPr>
              <a:t>30000</a:t>
            </a:r>
            <a:r>
              <a:rPr lang="zh-CN" altLang="en-US" sz="1600">
                <a:ea typeface="宋体" charset="-122"/>
              </a:rPr>
              <a:t>把太阳能电动伞。随后的两年内，在海南省全省推广，进而使产品走向全国。</a:t>
            </a:r>
          </a:p>
        </p:txBody>
      </p:sp>
      <p:sp>
        <p:nvSpPr>
          <p:cNvPr id="4" name="矩形 3"/>
          <p:cNvSpPr/>
          <p:nvPr/>
        </p:nvSpPr>
        <p:spPr>
          <a:xfrm>
            <a:off x="8798803" y="2864249"/>
            <a:ext cx="2975332" cy="18001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smtClean="0">
                <a:ea typeface="宋体" charset="-122"/>
              </a:rPr>
              <a:t>我国</a:t>
            </a:r>
            <a:r>
              <a:rPr lang="zh-CN" altLang="en-US" sz="1600">
                <a:ea typeface="宋体" charset="-122"/>
              </a:rPr>
              <a:t>光伏产业发展</a:t>
            </a:r>
            <a:r>
              <a:rPr lang="zh-CN" altLang="en-US" sz="1600" smtClean="0">
                <a:ea typeface="宋体" charset="-122"/>
              </a:rPr>
              <a:t>迅猛，本公司</a:t>
            </a:r>
            <a:r>
              <a:rPr lang="zh-CN" altLang="en-US" sz="1600">
                <a:ea typeface="宋体" charset="-122"/>
              </a:rPr>
              <a:t>正是利用这一技术</a:t>
            </a:r>
            <a:r>
              <a:rPr lang="zh-CN" altLang="en-US" sz="1600" smtClean="0">
                <a:ea typeface="宋体" charset="-122"/>
              </a:rPr>
              <a:t>优势，</a:t>
            </a:r>
            <a:r>
              <a:rPr lang="zh-CN" altLang="en-US" sz="1600">
                <a:ea typeface="宋体" charset="-122"/>
              </a:rPr>
              <a:t>将太阳能光伏发电装置设置在电动伞的顶端，充分利用海南省白天的高温和太阳光强直射，吸收太阳能并贮存，同时运转小功率</a:t>
            </a:r>
            <a:r>
              <a:rPr lang="zh-CN" altLang="en-US" sz="1600" smtClean="0">
                <a:ea typeface="宋体" charset="-122"/>
              </a:rPr>
              <a:t>风扇</a:t>
            </a:r>
            <a:r>
              <a:rPr lang="zh-CN" altLang="en-US" sz="1600">
                <a:ea typeface="宋体" charset="-122"/>
              </a:rPr>
              <a:t>。</a:t>
            </a:r>
          </a:p>
        </p:txBody>
      </p:sp>
      <p:sp>
        <p:nvSpPr>
          <p:cNvPr id="95" name="灯片编号占位符 9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7</a:t>
            </a:fld>
            <a:endParaRPr lang="zh-CN" altLang="en-US">
              <a:ea typeface="宋体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3238106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6" presetClass="emph" presetSubtype="0" fill="hold" nodeType="withEffect"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1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76331" y="770981"/>
            <a:ext cx="1128570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Third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159" name="组合 158"/>
          <p:cNvGrpSpPr/>
          <p:nvPr/>
        </p:nvGrpSpPr>
        <p:grpSpPr>
          <a:xfrm flipH="1">
            <a:off x="10630149" y="1780801"/>
            <a:ext cx="1420700" cy="1479820"/>
            <a:chOff x="2295934" y="5308894"/>
            <a:chExt cx="1420700" cy="1479820"/>
          </a:xfrm>
        </p:grpSpPr>
        <p:pic>
          <p:nvPicPr>
            <p:cNvPr id="160" name="图片 15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588" y="5557668"/>
              <a:ext cx="1231046" cy="1231046"/>
            </a:xfrm>
            <a:prstGeom prst="rect">
              <a:avLst/>
            </a:prstGeom>
          </p:spPr>
        </p:pic>
        <p:sp>
          <p:nvSpPr>
            <p:cNvPr id="162" name="Badge"/>
            <p:cNvSpPr>
              <a:spLocks noChangeAspect="1"/>
            </p:cNvSpPr>
            <p:nvPr/>
          </p:nvSpPr>
          <p:spPr bwMode="auto">
            <a:xfrm>
              <a:off x="2295934" y="5308894"/>
              <a:ext cx="859848" cy="859848"/>
            </a:xfrm>
            <a:prstGeom prst="star16">
              <a:avLst>
                <a:gd name="adj" fmla="val 42768"/>
              </a:avLst>
            </a:prstGeom>
            <a:solidFill>
              <a:srgbClr val="00B0F0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25400" dir="2699996" rotWithShape="0">
                <a:srgbClr val="A6A6A6">
                  <a:alpha val="4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>
                  <a:solidFill>
                    <a:schemeClr val="bg1"/>
                  </a:solidFill>
                  <a:effectLst>
                    <a:glow rad="101600">
                      <a:schemeClr val="tx1">
                        <a:alpha val="60000"/>
                      </a:schemeClr>
                    </a:glow>
                  </a:effectLst>
                  <a:latin typeface="微软雅黑" pitchFamily="34" charset="-122"/>
                  <a:ea typeface="宋体" charset="-122"/>
                </a:rPr>
                <a:t>策略</a:t>
              </a:r>
              <a:endParaRPr 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06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07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08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18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29" name="组合 128"/>
          <p:cNvGrpSpPr/>
          <p:nvPr/>
        </p:nvGrpSpPr>
        <p:grpSpPr>
          <a:xfrm>
            <a:off x="7941433" y="84891"/>
            <a:ext cx="3848050" cy="1173139"/>
            <a:chOff x="2891924" y="507273"/>
            <a:chExt cx="3848050" cy="1173139"/>
          </a:xfrm>
        </p:grpSpPr>
        <p:pic>
          <p:nvPicPr>
            <p:cNvPr id="130" name="图片 12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31" name="矩形 130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营销策划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32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grpSp>
        <p:nvGrpSpPr>
          <p:cNvPr id="133" name="组合 132"/>
          <p:cNvGrpSpPr/>
          <p:nvPr/>
        </p:nvGrpSpPr>
        <p:grpSpPr>
          <a:xfrm>
            <a:off x="1292674" y="125107"/>
            <a:ext cx="4302766" cy="2692108"/>
            <a:chOff x="1308341" y="149610"/>
            <a:chExt cx="4302766" cy="2692108"/>
          </a:xfrm>
        </p:grpSpPr>
        <p:grpSp>
          <p:nvGrpSpPr>
            <p:cNvPr id="134" name="组合 133"/>
            <p:cNvGrpSpPr/>
            <p:nvPr/>
          </p:nvGrpSpPr>
          <p:grpSpPr>
            <a:xfrm>
              <a:off x="1308341" y="149610"/>
              <a:ext cx="4302766" cy="2444225"/>
              <a:chOff x="1308341" y="149610"/>
              <a:chExt cx="4302766" cy="2444225"/>
            </a:xfrm>
          </p:grpSpPr>
          <p:sp>
            <p:nvSpPr>
              <p:cNvPr id="136" name="矩形 6"/>
              <p:cNvSpPr/>
              <p:nvPr/>
            </p:nvSpPr>
            <p:spPr>
              <a:xfrm>
                <a:off x="3853713" y="358350"/>
                <a:ext cx="1123206" cy="1590502"/>
              </a:xfrm>
              <a:custGeom>
                <a:gdLst>
                  <a:gd name="connsiteX0" fmla="*/ 0 w 1380678"/>
                  <a:gd name="connsiteY0" fmla="*/ 0 h 2194670"/>
                  <a:gd name="connsiteX1" fmla="*/ 1380678 w 1380678"/>
                  <a:gd name="connsiteY1" fmla="*/ 2194670 h 2194670"/>
                  <a:gd name="connsiteX2" fmla="*/ 12525 w 1380678"/>
                  <a:gd name="connsiteY2" fmla="*/ 1493214 h 2194670"/>
                  <a:gd name="connsiteX3" fmla="*/ 0 w 1380678"/>
                  <a:gd name="connsiteY3" fmla="*/ 0 h 2194670"/>
                  <a:gd name="connsiteX4" fmla="*/ 0 w 1393204"/>
                  <a:gd name="connsiteY4" fmla="*/ 0 h 2232248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0678" h="2194670">
                    <a:moveTo>
                      <a:pt x="0" y="0"/>
                    </a:moveTo>
                    <a:lnTo>
                      <a:pt x="1380678" y="2194670"/>
                    </a:lnTo>
                    <a:lnTo>
                      <a:pt x="12525" y="1493214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A6C9E">
                      <a:shade val="30000"/>
                      <a:satMod val="115000"/>
                      <a:alpha val="38000"/>
                    </a:srgbClr>
                  </a:gs>
                  <a:gs pos="100000">
                    <a:srgbClr val="DA6C9E">
                      <a:shade val="100000"/>
                      <a:satMod val="115000"/>
                      <a:alpha val="43000"/>
                    </a:srgbClr>
                  </a:gs>
                </a:gsLst>
                <a:lin ang="162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grpSp>
            <p:nvGrpSpPr>
              <p:cNvPr id="137" name="组合 136"/>
              <p:cNvGrpSpPr/>
              <p:nvPr/>
            </p:nvGrpSpPr>
            <p:grpSpPr>
              <a:xfrm>
                <a:off x="1308341" y="149610"/>
                <a:ext cx="4302766" cy="2444225"/>
                <a:chOff x="1308341" y="149610"/>
                <a:chExt cx="4302766" cy="2444225"/>
              </a:xfrm>
            </p:grpSpPr>
            <p:sp>
              <p:nvSpPr>
                <p:cNvPr id="138" name="矩形 16"/>
                <p:cNvSpPr/>
                <p:nvPr/>
              </p:nvSpPr>
              <p:spPr>
                <a:xfrm rot="20104384">
                  <a:off x="1308341" y="1704410"/>
                  <a:ext cx="4054566" cy="889425"/>
                </a:xfrm>
                <a:custGeom>
                  <a:rect l="l" t="t" r="r" b="b"/>
                  <a:pathLst>
                    <a:path w="4028182" h="991918">
                      <a:moveTo>
                        <a:pt x="2899092" y="0"/>
                      </a:moveTo>
                      <a:lnTo>
                        <a:pt x="4028182" y="991918"/>
                      </a:lnTo>
                      <a:lnTo>
                        <a:pt x="0" y="991918"/>
                      </a:lnTo>
                      <a:lnTo>
                        <a:pt x="461000" y="0"/>
                      </a:lnTo>
                      <a:close/>
                    </a:path>
                  </a:pathLst>
                </a:custGeom>
                <a:solidFill>
                  <a:srgbClr val="CD377B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39" name="立方体 138"/>
                <p:cNvSpPr/>
                <p:nvPr/>
              </p:nvSpPr>
              <p:spPr>
                <a:xfrm>
                  <a:off x="3560815" y="149610"/>
                  <a:ext cx="2050292" cy="1722106"/>
                </a:xfrm>
                <a:prstGeom prst="cube">
                  <a:avLst>
                    <a:gd name="adj" fmla="val 24472"/>
                  </a:avLst>
                </a:prstGeom>
                <a:gradFill flip="none" rotWithShape="1">
                  <a:gsLst>
                    <a:gs pos="0">
                      <a:srgbClr val="B52D6B">
                        <a:shade val="30000"/>
                        <a:satMod val="115000"/>
                      </a:srgbClr>
                    </a:gs>
                    <a:gs pos="50000">
                      <a:srgbClr val="B52D6B">
                        <a:shade val="67500"/>
                        <a:satMod val="115000"/>
                      </a:srgbClr>
                    </a:gs>
                    <a:gs pos="100000">
                      <a:srgbClr val="B52D6B">
                        <a:shade val="100000"/>
                        <a:satMod val="115000"/>
                      </a:srgbClr>
                    </a:gs>
                  </a:gsLst>
                  <a:lin ang="16200000" scaled="1"/>
                </a:gradFill>
                <a:ln w="25400" cap="flat" cmpd="sng" algn="ctr">
                  <a:solidFill>
                    <a:srgbClr val="DA6C9E"/>
                  </a:solidFill>
                  <a:prstDash val="solid"/>
                </a:ln>
                <a:effectLst/>
                <a:scene3d>
                  <a:camera prst="isometricLeftDown">
                    <a:rot lat="1800000" lon="2700002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40" name="矩形 2"/>
                <p:cNvSpPr/>
                <p:nvPr/>
              </p:nvSpPr>
              <p:spPr>
                <a:xfrm>
                  <a:off x="3833334" y="282500"/>
                  <a:ext cx="1505255" cy="703464"/>
                </a:xfrm>
                <a:custGeom>
                  <a:gdLst>
                    <a:gd name="connsiteX0" fmla="*/ 0 w 1850304"/>
                    <a:gd name="connsiteY0" fmla="*/ 0 h 970682"/>
                    <a:gd name="connsiteX1" fmla="*/ 1850304 w 1850304"/>
                    <a:gd name="connsiteY1" fmla="*/ 400833 h 970682"/>
                    <a:gd name="connsiteX2" fmla="*/ 1424419 w 1850304"/>
                    <a:gd name="connsiteY2" fmla="*/ 945630 h 970682"/>
                    <a:gd name="connsiteX3" fmla="*/ 50104 w 1850304"/>
                    <a:gd name="connsiteY3" fmla="*/ 970682 h 970682"/>
                    <a:gd name="connsiteX4" fmla="*/ 0 w 1850304"/>
                    <a:gd name="connsiteY4" fmla="*/ 0 h 970682"/>
                  </a:gdLst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0304" h="970682">
                      <a:moveTo>
                        <a:pt x="0" y="0"/>
                      </a:moveTo>
                      <a:lnTo>
                        <a:pt x="1850304" y="400833"/>
                      </a:lnTo>
                      <a:lnTo>
                        <a:pt x="1424419" y="945630"/>
                      </a:lnTo>
                      <a:lnTo>
                        <a:pt x="50104" y="97068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alpha val="18824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41" name="TextBox 47"/>
                <p:cNvSpPr txBox="1"/>
                <p:nvPr/>
              </p:nvSpPr>
              <p:spPr>
                <a:xfrm>
                  <a:off x="3975915" y="739552"/>
                  <a:ext cx="874528" cy="12631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isometricLeftDown"/>
                    <a:lightRig rig="threePt" dir="t"/>
                  </a:scene3d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96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ysClr val="window" lastClr="FFFFFF"/>
                      </a:solidFill>
                      <a:effectLst>
                        <a:outerShdw blurRad="50800" dist="38100" dir="5400000" algn="t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Arial Rounded MT Bold" pitchFamily="34" charset="0"/>
                      <a:ea typeface="宋体" charset="-122"/>
                      <a:cs typeface="Arial" pitchFamily="34" charset="0"/>
                    </a:rPr>
                    <a:t>A</a:t>
                  </a:r>
                  <a:endParaRPr kumimoji="0" lang="zh-CN" altLang="en-US" sz="96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宋体" charset="-122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35" name="矩形 134"/>
            <p:cNvSpPr/>
            <p:nvPr/>
          </p:nvSpPr>
          <p:spPr>
            <a:xfrm rot="20085071">
              <a:off x="1916312" y="2072596"/>
              <a:ext cx="1301781" cy="7627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zh-CN" altLang="en-US" sz="4400" b="1">
                  <a:ln w="13462">
                    <a:solidFill>
                      <a:srgbClr val="00B0F0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方正综艺简体" panose="03000509000000000000" pitchFamily="65" charset="-122"/>
                  <a:ea typeface="宋体" charset="-122"/>
                </a:rPr>
                <a:t>试用</a:t>
              </a:r>
            </a:p>
          </p:txBody>
        </p:sp>
      </p:grpSp>
      <p:grpSp>
        <p:nvGrpSpPr>
          <p:cNvPr id="142" name="组合 141"/>
          <p:cNvGrpSpPr/>
          <p:nvPr/>
        </p:nvGrpSpPr>
        <p:grpSpPr>
          <a:xfrm>
            <a:off x="1244566" y="671461"/>
            <a:ext cx="5586473" cy="2849852"/>
            <a:chOff x="1244566" y="671461"/>
            <a:chExt cx="5586473" cy="2849852"/>
          </a:xfrm>
        </p:grpSpPr>
        <p:grpSp>
          <p:nvGrpSpPr>
            <p:cNvPr id="143" name="组合 142"/>
            <p:cNvGrpSpPr/>
            <p:nvPr/>
          </p:nvGrpSpPr>
          <p:grpSpPr>
            <a:xfrm>
              <a:off x="1244566" y="671461"/>
              <a:ext cx="5586473" cy="2700262"/>
              <a:chOff x="1244566" y="671461"/>
              <a:chExt cx="5586473" cy="2700262"/>
            </a:xfrm>
          </p:grpSpPr>
          <p:sp>
            <p:nvSpPr>
              <p:cNvPr id="145" name="矩形 6"/>
              <p:cNvSpPr/>
              <p:nvPr/>
            </p:nvSpPr>
            <p:spPr>
              <a:xfrm>
                <a:off x="5061273" y="860958"/>
                <a:ext cx="1123206" cy="1590502"/>
              </a:xfrm>
              <a:custGeom>
                <a:gdLst>
                  <a:gd name="connsiteX0" fmla="*/ 0 w 1380678"/>
                  <a:gd name="connsiteY0" fmla="*/ 0 h 2194670"/>
                  <a:gd name="connsiteX1" fmla="*/ 1380678 w 1380678"/>
                  <a:gd name="connsiteY1" fmla="*/ 2194670 h 2194670"/>
                  <a:gd name="connsiteX2" fmla="*/ 12525 w 1380678"/>
                  <a:gd name="connsiteY2" fmla="*/ 1493214 h 2194670"/>
                  <a:gd name="connsiteX3" fmla="*/ 0 w 1380678"/>
                  <a:gd name="connsiteY3" fmla="*/ 0 h 2194670"/>
                  <a:gd name="connsiteX4" fmla="*/ 0 w 1393204"/>
                  <a:gd name="connsiteY4" fmla="*/ 0 h 2232248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0678" h="2194670">
                    <a:moveTo>
                      <a:pt x="0" y="0"/>
                    </a:moveTo>
                    <a:lnTo>
                      <a:pt x="1380678" y="2194670"/>
                    </a:lnTo>
                    <a:lnTo>
                      <a:pt x="12525" y="1493214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A6C9E">
                      <a:shade val="30000"/>
                      <a:satMod val="115000"/>
                      <a:alpha val="38000"/>
                    </a:srgbClr>
                  </a:gs>
                  <a:gs pos="100000">
                    <a:srgbClr val="DA6C9E">
                      <a:shade val="100000"/>
                      <a:satMod val="115000"/>
                      <a:alpha val="43000"/>
                    </a:srgbClr>
                  </a:gs>
                </a:gsLst>
                <a:lin ang="162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grpSp>
            <p:nvGrpSpPr>
              <p:cNvPr id="146" name="组合 145"/>
              <p:cNvGrpSpPr/>
              <p:nvPr/>
            </p:nvGrpSpPr>
            <p:grpSpPr>
              <a:xfrm>
                <a:off x="1244566" y="671461"/>
                <a:ext cx="5586473" cy="2700262"/>
                <a:chOff x="1244566" y="671461"/>
                <a:chExt cx="5586473" cy="2700262"/>
              </a:xfrm>
            </p:grpSpPr>
            <p:sp>
              <p:nvSpPr>
                <p:cNvPr id="147" name="矩形 16"/>
                <p:cNvSpPr/>
                <p:nvPr/>
              </p:nvSpPr>
              <p:spPr>
                <a:xfrm rot="20104384">
                  <a:off x="1244566" y="2482298"/>
                  <a:ext cx="5423806" cy="889425"/>
                </a:xfrm>
                <a:custGeom>
                  <a:rect l="l" t="t" r="r" b="b"/>
                  <a:pathLst>
                    <a:path w="5388511" h="991918">
                      <a:moveTo>
                        <a:pt x="4218412" y="0"/>
                      </a:moveTo>
                      <a:lnTo>
                        <a:pt x="5388511" y="991918"/>
                      </a:lnTo>
                      <a:lnTo>
                        <a:pt x="0" y="991918"/>
                      </a:lnTo>
                      <a:lnTo>
                        <a:pt x="461000" y="0"/>
                      </a:lnTo>
                      <a:close/>
                    </a:path>
                  </a:pathLst>
                </a:custGeom>
                <a:solidFill>
                  <a:srgbClr val="E94C05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48" name="立方体 147"/>
                <p:cNvSpPr/>
                <p:nvPr/>
              </p:nvSpPr>
              <p:spPr>
                <a:xfrm>
                  <a:off x="4780747" y="671461"/>
                  <a:ext cx="2050292" cy="1722106"/>
                </a:xfrm>
                <a:prstGeom prst="cube">
                  <a:avLst>
                    <a:gd name="adj" fmla="val 24472"/>
                  </a:avLst>
                </a:prstGeom>
                <a:gradFill flip="none" rotWithShape="1">
                  <a:gsLst>
                    <a:gs pos="14000">
                      <a:srgbClr val="992600"/>
                    </a:gs>
                    <a:gs pos="60000">
                      <a:srgbClr val="CC3100"/>
                    </a:gs>
                    <a:gs pos="85000">
                      <a:srgbClr val="E94C05">
                        <a:shade val="67500"/>
                        <a:satMod val="115000"/>
                      </a:srgbClr>
                    </a:gs>
                    <a:gs pos="100000">
                      <a:srgbClr val="E94C05">
                        <a:shade val="100000"/>
                        <a:satMod val="115000"/>
                      </a:srgbClr>
                    </a:gs>
                  </a:gsLst>
                  <a:lin ang="16200000" scaled="1"/>
                </a:gradFill>
                <a:ln w="25400" cap="flat" cmpd="sng" algn="ctr">
                  <a:solidFill>
                    <a:srgbClr val="FB8D5B"/>
                  </a:solidFill>
                  <a:prstDash val="solid"/>
                </a:ln>
                <a:effectLst/>
                <a:scene3d>
                  <a:camera prst="isometricLeftDown">
                    <a:rot lat="1800000" lon="2700002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49" name="矩形 2"/>
                <p:cNvSpPr/>
                <p:nvPr/>
              </p:nvSpPr>
              <p:spPr>
                <a:xfrm>
                  <a:off x="5053265" y="829049"/>
                  <a:ext cx="1505255" cy="703464"/>
                </a:xfrm>
                <a:custGeom>
                  <a:gdLst>
                    <a:gd name="connsiteX0" fmla="*/ 0 w 1850304"/>
                    <a:gd name="connsiteY0" fmla="*/ 0 h 970682"/>
                    <a:gd name="connsiteX1" fmla="*/ 1850304 w 1850304"/>
                    <a:gd name="connsiteY1" fmla="*/ 400833 h 970682"/>
                    <a:gd name="connsiteX2" fmla="*/ 1424419 w 1850304"/>
                    <a:gd name="connsiteY2" fmla="*/ 945630 h 970682"/>
                    <a:gd name="connsiteX3" fmla="*/ 50104 w 1850304"/>
                    <a:gd name="connsiteY3" fmla="*/ 970682 h 970682"/>
                    <a:gd name="connsiteX4" fmla="*/ 0 w 1850304"/>
                    <a:gd name="connsiteY4" fmla="*/ 0 h 970682"/>
                  </a:gdLst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0304" h="970682">
                      <a:moveTo>
                        <a:pt x="0" y="0"/>
                      </a:moveTo>
                      <a:lnTo>
                        <a:pt x="1850304" y="400833"/>
                      </a:lnTo>
                      <a:lnTo>
                        <a:pt x="1424419" y="945630"/>
                      </a:lnTo>
                      <a:lnTo>
                        <a:pt x="50104" y="97068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alpha val="18824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50" name="TextBox 48"/>
                <p:cNvSpPr txBox="1"/>
                <p:nvPr/>
              </p:nvSpPr>
              <p:spPr>
                <a:xfrm>
                  <a:off x="5163889" y="1224577"/>
                  <a:ext cx="874528" cy="12631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isometricLeftDown"/>
                    <a:lightRig rig="threePt" dir="t"/>
                  </a:scene3d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96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ysClr val="window" lastClr="FFFFFF"/>
                      </a:solidFill>
                      <a:effectLst>
                        <a:outerShdw blurRad="50800" dist="38100" dir="5400000" algn="t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Arial Rounded MT Bold" pitchFamily="34" charset="0"/>
                      <a:ea typeface="宋体" charset="-122"/>
                      <a:cs typeface="Arial" pitchFamily="34" charset="0"/>
                    </a:rPr>
                    <a:t>B</a:t>
                  </a:r>
                  <a:endParaRPr kumimoji="0" lang="zh-CN" altLang="en-US" sz="96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宋体" charset="-122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44" name="矩形 143"/>
            <p:cNvSpPr/>
            <p:nvPr/>
          </p:nvSpPr>
          <p:spPr>
            <a:xfrm rot="20085071">
              <a:off x="2299309" y="2752191"/>
              <a:ext cx="2420498" cy="7627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zh-CN" altLang="en-US" sz="4400" b="1" smtClean="0">
                  <a:ln w="13462">
                    <a:solidFill>
                      <a:srgbClr val="00B0F0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方正综艺简体" panose="03000509000000000000" pitchFamily="65" charset="-122"/>
                  <a:ea typeface="宋体" charset="-122"/>
                </a:rPr>
                <a:t>产品保证</a:t>
              </a:r>
              <a:endParaRPr lang="zh-CN" altLang="en-US" sz="4400" b="1">
                <a:ln w="13462">
                  <a:solidFill>
                    <a:srgbClr val="00B0F0"/>
                  </a:solidFill>
                  <a:prstDash val="solid"/>
                </a:ln>
                <a:solidFill>
                  <a:schemeClr val="bg1"/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方正综艺简体" panose="03000509000000000000" pitchFamily="65" charset="-122"/>
                <a:ea typeface="宋体" charset="-122"/>
              </a:endParaRPr>
            </a:p>
          </p:txBody>
        </p:sp>
      </p:grpSp>
      <p:grpSp>
        <p:nvGrpSpPr>
          <p:cNvPr id="151" name="组合 150"/>
          <p:cNvGrpSpPr/>
          <p:nvPr/>
        </p:nvGrpSpPr>
        <p:grpSpPr>
          <a:xfrm>
            <a:off x="1179318" y="1192277"/>
            <a:ext cx="6881949" cy="2975515"/>
            <a:chOff x="1179318" y="1192277"/>
            <a:chExt cx="6881949" cy="2975515"/>
          </a:xfrm>
        </p:grpSpPr>
        <p:grpSp>
          <p:nvGrpSpPr>
            <p:cNvPr id="152" name="组合 151"/>
            <p:cNvGrpSpPr/>
            <p:nvPr/>
          </p:nvGrpSpPr>
          <p:grpSpPr>
            <a:xfrm>
              <a:off x="1179318" y="1192277"/>
              <a:ext cx="6881949" cy="2975515"/>
              <a:chOff x="1179318" y="1192277"/>
              <a:chExt cx="6881949" cy="2975515"/>
            </a:xfrm>
          </p:grpSpPr>
          <p:sp>
            <p:nvSpPr>
              <p:cNvPr id="154" name="矩形 6"/>
              <p:cNvSpPr/>
              <p:nvPr/>
            </p:nvSpPr>
            <p:spPr>
              <a:xfrm>
                <a:off x="6283494" y="1361334"/>
                <a:ext cx="1123206" cy="1590502"/>
              </a:xfrm>
              <a:custGeom>
                <a:gdLst>
                  <a:gd name="connsiteX0" fmla="*/ 0 w 1380678"/>
                  <a:gd name="connsiteY0" fmla="*/ 0 h 2194670"/>
                  <a:gd name="connsiteX1" fmla="*/ 1380678 w 1380678"/>
                  <a:gd name="connsiteY1" fmla="*/ 2194670 h 2194670"/>
                  <a:gd name="connsiteX2" fmla="*/ 12525 w 1380678"/>
                  <a:gd name="connsiteY2" fmla="*/ 1493214 h 2194670"/>
                  <a:gd name="connsiteX3" fmla="*/ 0 w 1380678"/>
                  <a:gd name="connsiteY3" fmla="*/ 0 h 2194670"/>
                  <a:gd name="connsiteX4" fmla="*/ 0 w 1393204"/>
                  <a:gd name="connsiteY4" fmla="*/ 0 h 2232248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0678" h="2194670">
                    <a:moveTo>
                      <a:pt x="0" y="0"/>
                    </a:moveTo>
                    <a:lnTo>
                      <a:pt x="1380678" y="2194670"/>
                    </a:lnTo>
                    <a:lnTo>
                      <a:pt x="12525" y="1493214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ysClr val="window" lastClr="FFFFFF">
                      <a:lumMod val="95000"/>
                      <a:shade val="30000"/>
                      <a:satMod val="115000"/>
                      <a:alpha val="54000"/>
                    </a:sysClr>
                  </a:gs>
                  <a:gs pos="100000">
                    <a:sysClr val="window" lastClr="FFFFFF">
                      <a:lumMod val="95000"/>
                      <a:shade val="100000"/>
                      <a:satMod val="115000"/>
                      <a:alpha val="35000"/>
                    </a:sysClr>
                  </a:gs>
                </a:gsLst>
                <a:lin ang="162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grpSp>
            <p:nvGrpSpPr>
              <p:cNvPr id="157" name="组合 156"/>
              <p:cNvGrpSpPr/>
              <p:nvPr/>
            </p:nvGrpSpPr>
            <p:grpSpPr>
              <a:xfrm>
                <a:off x="1179318" y="1192277"/>
                <a:ext cx="6881949" cy="2975515"/>
                <a:chOff x="1179318" y="1192277"/>
                <a:chExt cx="6881949" cy="2975515"/>
              </a:xfrm>
            </p:grpSpPr>
            <p:sp>
              <p:nvSpPr>
                <p:cNvPr id="158" name="矩形 16"/>
                <p:cNvSpPr/>
                <p:nvPr/>
              </p:nvSpPr>
              <p:spPr>
                <a:xfrm rot="20104384">
                  <a:off x="1179318" y="3267242"/>
                  <a:ext cx="6768144" cy="900550"/>
                </a:xfrm>
                <a:custGeom>
                  <a:rect l="l" t="t" r="r" b="b"/>
                  <a:pathLst>
                    <a:path w="6724101" h="1004325">
                      <a:moveTo>
                        <a:pt x="5585573" y="0"/>
                      </a:moveTo>
                      <a:lnTo>
                        <a:pt x="6724101" y="991918"/>
                      </a:lnTo>
                      <a:lnTo>
                        <a:pt x="0" y="1004325"/>
                      </a:lnTo>
                      <a:lnTo>
                        <a:pt x="465626" y="245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61" name="立方体 160"/>
                <p:cNvSpPr/>
                <p:nvPr/>
              </p:nvSpPr>
              <p:spPr>
                <a:xfrm>
                  <a:off x="6010975" y="1192277"/>
                  <a:ext cx="2050292" cy="1722106"/>
                </a:xfrm>
                <a:prstGeom prst="cube">
                  <a:avLst>
                    <a:gd name="adj" fmla="val 24472"/>
                  </a:avLst>
                </a:prstGeom>
                <a:gradFill flip="none" rotWithShape="1">
                  <a:gsLst>
                    <a:gs pos="52000">
                      <a:sysClr val="window" lastClr="FFFFFF">
                        <a:lumMod val="65000"/>
                      </a:sysClr>
                    </a:gs>
                    <a:gs pos="0">
                      <a:sysClr val="window" lastClr="FFFFFF">
                        <a:lumMod val="85000"/>
                        <a:shade val="67500"/>
                        <a:satMod val="115000"/>
                      </a:sysClr>
                    </a:gs>
                    <a:gs pos="100000">
                      <a:sysClr val="window" lastClr="FFFFFF">
                        <a:lumMod val="85000"/>
                        <a:shade val="100000"/>
                        <a:satMod val="115000"/>
                      </a:sysClr>
                    </a:gs>
                  </a:gsLst>
                  <a:lin ang="16200000" scaled="1"/>
                </a:gradFill>
                <a:ln w="25400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  <a:scene3d>
                  <a:camera prst="isometricLeftDown">
                    <a:rot lat="1800000" lon="2700002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63" name="矩形 2"/>
                <p:cNvSpPr/>
                <p:nvPr/>
              </p:nvSpPr>
              <p:spPr>
                <a:xfrm>
                  <a:off x="6283494" y="1349865"/>
                  <a:ext cx="1505255" cy="703464"/>
                </a:xfrm>
                <a:custGeom>
                  <a:gdLst>
                    <a:gd name="connsiteX0" fmla="*/ 0 w 1850304"/>
                    <a:gd name="connsiteY0" fmla="*/ 0 h 970682"/>
                    <a:gd name="connsiteX1" fmla="*/ 1850304 w 1850304"/>
                    <a:gd name="connsiteY1" fmla="*/ 400833 h 970682"/>
                    <a:gd name="connsiteX2" fmla="*/ 1424419 w 1850304"/>
                    <a:gd name="connsiteY2" fmla="*/ 945630 h 970682"/>
                    <a:gd name="connsiteX3" fmla="*/ 50104 w 1850304"/>
                    <a:gd name="connsiteY3" fmla="*/ 970682 h 970682"/>
                    <a:gd name="connsiteX4" fmla="*/ 0 w 1850304"/>
                    <a:gd name="connsiteY4" fmla="*/ 0 h 970682"/>
                  </a:gdLst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0304" h="970682">
                      <a:moveTo>
                        <a:pt x="0" y="0"/>
                      </a:moveTo>
                      <a:lnTo>
                        <a:pt x="1850304" y="400833"/>
                      </a:lnTo>
                      <a:lnTo>
                        <a:pt x="1424419" y="945630"/>
                      </a:lnTo>
                      <a:lnTo>
                        <a:pt x="50104" y="97068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alpha val="18824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64" name="TextBox 49"/>
                <p:cNvSpPr txBox="1"/>
                <p:nvPr/>
              </p:nvSpPr>
              <p:spPr>
                <a:xfrm>
                  <a:off x="6421646" y="1728065"/>
                  <a:ext cx="874528" cy="12631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isometricLeftDown"/>
                    <a:lightRig rig="threePt" dir="t"/>
                  </a:scene3d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96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ysClr val="window" lastClr="FFFFFF"/>
                      </a:solidFill>
                      <a:effectLst>
                        <a:outerShdw blurRad="50800" dist="38100" dir="5400000" algn="t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Arial Rounded MT Bold" pitchFamily="34" charset="0"/>
                      <a:ea typeface="宋体" charset="-122"/>
                      <a:cs typeface="Arial" pitchFamily="34" charset="0"/>
                    </a:rPr>
                    <a:t>C</a:t>
                  </a:r>
                  <a:endParaRPr kumimoji="0" lang="zh-CN" altLang="en-US" sz="96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宋体" charset="-122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53" name="矩形 152"/>
            <p:cNvSpPr/>
            <p:nvPr/>
          </p:nvSpPr>
          <p:spPr>
            <a:xfrm rot="20085071">
              <a:off x="3240395" y="3360282"/>
              <a:ext cx="2420498" cy="7627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zh-CN" altLang="en-US" sz="4400" b="1" smtClean="0">
                  <a:ln w="13462">
                    <a:solidFill>
                      <a:srgbClr val="00B0F0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方正综艺简体" panose="03000509000000000000" pitchFamily="65" charset="-122"/>
                  <a:ea typeface="宋体" charset="-122"/>
                </a:rPr>
                <a:t>折扣销售</a:t>
              </a:r>
              <a:endParaRPr lang="zh-CN" altLang="en-US" sz="4400" b="1">
                <a:ln w="13462">
                  <a:solidFill>
                    <a:srgbClr val="00B0F0"/>
                  </a:solidFill>
                  <a:prstDash val="solid"/>
                </a:ln>
                <a:solidFill>
                  <a:schemeClr val="bg1"/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方正综艺简体" panose="03000509000000000000" pitchFamily="65" charset="-122"/>
                <a:ea typeface="宋体" charset="-122"/>
              </a:endParaRPr>
            </a:p>
          </p:txBody>
        </p:sp>
      </p:grpSp>
      <p:grpSp>
        <p:nvGrpSpPr>
          <p:cNvPr id="165" name="组合 164"/>
          <p:cNvGrpSpPr/>
          <p:nvPr/>
        </p:nvGrpSpPr>
        <p:grpSpPr>
          <a:xfrm>
            <a:off x="1260047" y="1825952"/>
            <a:ext cx="7985141" cy="3243935"/>
            <a:chOff x="1260047" y="1825952"/>
            <a:chExt cx="7985141" cy="3243935"/>
          </a:xfrm>
        </p:grpSpPr>
        <p:grpSp>
          <p:nvGrpSpPr>
            <p:cNvPr id="166" name="组合 165"/>
            <p:cNvGrpSpPr/>
            <p:nvPr/>
          </p:nvGrpSpPr>
          <p:grpSpPr>
            <a:xfrm>
              <a:off x="1260047" y="1825952"/>
              <a:ext cx="7985141" cy="3243935"/>
              <a:chOff x="1260047" y="1825952"/>
              <a:chExt cx="7985141" cy="3243935"/>
            </a:xfrm>
          </p:grpSpPr>
          <p:sp>
            <p:nvSpPr>
              <p:cNvPr id="168" name="矩形 6"/>
              <p:cNvSpPr/>
              <p:nvPr/>
            </p:nvSpPr>
            <p:spPr>
              <a:xfrm>
                <a:off x="7526150" y="1923796"/>
                <a:ext cx="1123206" cy="1590502"/>
              </a:xfrm>
              <a:custGeom>
                <a:gdLst>
                  <a:gd name="connsiteX0" fmla="*/ 0 w 1380678"/>
                  <a:gd name="connsiteY0" fmla="*/ 0 h 2194670"/>
                  <a:gd name="connsiteX1" fmla="*/ 1380678 w 1380678"/>
                  <a:gd name="connsiteY1" fmla="*/ 2194670 h 2194670"/>
                  <a:gd name="connsiteX2" fmla="*/ 12525 w 1380678"/>
                  <a:gd name="connsiteY2" fmla="*/ 1493214 h 2194670"/>
                  <a:gd name="connsiteX3" fmla="*/ 0 w 1380678"/>
                  <a:gd name="connsiteY3" fmla="*/ 0 h 2194670"/>
                  <a:gd name="connsiteX4" fmla="*/ 0 w 1393204"/>
                  <a:gd name="connsiteY4" fmla="*/ 0 h 2232248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0678" h="2194670">
                    <a:moveTo>
                      <a:pt x="0" y="0"/>
                    </a:moveTo>
                    <a:lnTo>
                      <a:pt x="1380678" y="2194670"/>
                    </a:lnTo>
                    <a:lnTo>
                      <a:pt x="12525" y="1493214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C000">
                      <a:shade val="30000"/>
                      <a:satMod val="115000"/>
                      <a:alpha val="50000"/>
                    </a:srgbClr>
                  </a:gs>
                  <a:gs pos="100000">
                    <a:srgbClr val="FFC000">
                      <a:shade val="100000"/>
                      <a:satMod val="115000"/>
                      <a:alpha val="35000"/>
                    </a:srgbClr>
                  </a:gs>
                </a:gsLst>
                <a:lin ang="162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grpSp>
            <p:nvGrpSpPr>
              <p:cNvPr id="169" name="组合 168"/>
              <p:cNvGrpSpPr/>
              <p:nvPr/>
            </p:nvGrpSpPr>
            <p:grpSpPr>
              <a:xfrm>
                <a:off x="1260047" y="1825952"/>
                <a:ext cx="7985141" cy="3243935"/>
                <a:chOff x="1296058" y="1714128"/>
                <a:chExt cx="7985141" cy="3243935"/>
              </a:xfrm>
            </p:grpSpPr>
            <p:sp>
              <p:nvSpPr>
                <p:cNvPr id="170" name="矩形 16"/>
                <p:cNvSpPr/>
                <p:nvPr/>
              </p:nvSpPr>
              <p:spPr>
                <a:xfrm rot="20104384">
                  <a:off x="1296058" y="4057563"/>
                  <a:ext cx="7566146" cy="900500"/>
                </a:xfrm>
                <a:custGeom>
                  <a:rect l="l" t="t" r="r" b="b"/>
                  <a:pathLst>
                    <a:path w="7516910" h="1004269">
                      <a:moveTo>
                        <a:pt x="6728154" y="0"/>
                      </a:moveTo>
                      <a:lnTo>
                        <a:pt x="6752667" y="17895"/>
                      </a:lnTo>
                      <a:lnTo>
                        <a:pt x="7516911" y="1004269"/>
                      </a:lnTo>
                      <a:lnTo>
                        <a:pt x="774102" y="1001266"/>
                      </a:lnTo>
                      <a:lnTo>
                        <a:pt x="0" y="641497"/>
                      </a:lnTo>
                      <a:lnTo>
                        <a:pt x="297209" y="2002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71" name="立方体 170"/>
                <p:cNvSpPr/>
                <p:nvPr/>
              </p:nvSpPr>
              <p:spPr>
                <a:xfrm>
                  <a:off x="7230907" y="1714128"/>
                  <a:ext cx="2050292" cy="1722106"/>
                </a:xfrm>
                <a:prstGeom prst="cube">
                  <a:avLst>
                    <a:gd name="adj" fmla="val 24472"/>
                  </a:avLst>
                </a:prstGeom>
                <a:gradFill flip="none" rotWithShape="1">
                  <a:gsLst>
                    <a:gs pos="50000">
                      <a:srgbClr val="B88300"/>
                    </a:gs>
                    <a:gs pos="0">
                      <a:srgbClr val="FFC000">
                        <a:shade val="67500"/>
                        <a:satMod val="115000"/>
                      </a:srgbClr>
                    </a:gs>
                    <a:gs pos="100000">
                      <a:srgbClr val="FFC000">
                        <a:shade val="100000"/>
                        <a:satMod val="115000"/>
                      </a:srgbClr>
                    </a:gs>
                  </a:gsLst>
                  <a:lin ang="16200000" scaled="1"/>
                </a:gradFill>
                <a:ln w="25400" cap="flat" cmpd="sng" algn="ctr">
                  <a:solidFill>
                    <a:srgbClr val="FFFF00"/>
                  </a:solidFill>
                  <a:prstDash val="solid"/>
                </a:ln>
                <a:effectLst/>
                <a:scene3d>
                  <a:camera prst="isometricLeftDown">
                    <a:rot lat="1800000" lon="2700002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72" name="矩形 2"/>
                <p:cNvSpPr/>
                <p:nvPr/>
              </p:nvSpPr>
              <p:spPr>
                <a:xfrm>
                  <a:off x="7485659" y="1871716"/>
                  <a:ext cx="1505255" cy="703464"/>
                </a:xfrm>
                <a:custGeom>
                  <a:gdLst>
                    <a:gd name="connsiteX0" fmla="*/ 0 w 1850304"/>
                    <a:gd name="connsiteY0" fmla="*/ 0 h 970682"/>
                    <a:gd name="connsiteX1" fmla="*/ 1850304 w 1850304"/>
                    <a:gd name="connsiteY1" fmla="*/ 400833 h 970682"/>
                    <a:gd name="connsiteX2" fmla="*/ 1424419 w 1850304"/>
                    <a:gd name="connsiteY2" fmla="*/ 945630 h 970682"/>
                    <a:gd name="connsiteX3" fmla="*/ 50104 w 1850304"/>
                    <a:gd name="connsiteY3" fmla="*/ 970682 h 970682"/>
                    <a:gd name="connsiteX4" fmla="*/ 0 w 1850304"/>
                    <a:gd name="connsiteY4" fmla="*/ 0 h 970682"/>
                  </a:gdLst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0304" h="970682">
                      <a:moveTo>
                        <a:pt x="0" y="0"/>
                      </a:moveTo>
                      <a:lnTo>
                        <a:pt x="1850304" y="400833"/>
                      </a:lnTo>
                      <a:lnTo>
                        <a:pt x="1424419" y="945630"/>
                      </a:lnTo>
                      <a:lnTo>
                        <a:pt x="50104" y="97068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alpha val="18824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73" name="TextBox 50"/>
                <p:cNvSpPr txBox="1"/>
                <p:nvPr/>
              </p:nvSpPr>
              <p:spPr>
                <a:xfrm>
                  <a:off x="7624359" y="2296281"/>
                  <a:ext cx="874528" cy="12631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  <a:scene3d>
                    <a:camera prst="isometricLeftDown"/>
                    <a:lightRig rig="threePt" dir="t"/>
                  </a:scene3d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96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ysClr val="window" lastClr="FFFFFF"/>
                      </a:solidFill>
                      <a:effectLst>
                        <a:outerShdw blurRad="50800" dist="38100" dir="5400000" algn="t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Arial Rounded MT Bold" pitchFamily="34" charset="0"/>
                      <a:ea typeface="宋体" charset="-122"/>
                      <a:cs typeface="Arial" pitchFamily="34" charset="0"/>
                    </a:rPr>
                    <a:t>D</a:t>
                  </a:r>
                  <a:endParaRPr kumimoji="0" lang="zh-CN" altLang="en-US" sz="96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宋体" charset="-122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67" name="矩形 166"/>
            <p:cNvSpPr/>
            <p:nvPr/>
          </p:nvSpPr>
          <p:spPr>
            <a:xfrm rot="20085071">
              <a:off x="4282676" y="4026688"/>
              <a:ext cx="2420498" cy="7627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zh-CN" altLang="en-US" sz="4400" b="1" smtClean="0">
                  <a:ln w="13462">
                    <a:solidFill>
                      <a:srgbClr val="00B0F0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方正综艺简体" panose="03000509000000000000" pitchFamily="65" charset="-122"/>
                  <a:ea typeface="宋体" charset="-122"/>
                </a:rPr>
                <a:t>租赁共享</a:t>
              </a:r>
              <a:endParaRPr lang="zh-CN" altLang="en-US" sz="4400" b="1">
                <a:ln w="13462">
                  <a:solidFill>
                    <a:srgbClr val="00B0F0"/>
                  </a:solidFill>
                  <a:prstDash val="solid"/>
                </a:ln>
                <a:solidFill>
                  <a:schemeClr val="bg1"/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方正综艺简体" panose="03000509000000000000" pitchFamily="65" charset="-122"/>
                <a:ea typeface="宋体" charset="-122"/>
              </a:endParaRPr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2438335" y="2345643"/>
            <a:ext cx="8008761" cy="3248585"/>
            <a:chOff x="2438335" y="2345643"/>
            <a:chExt cx="8008761" cy="324858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2438335" y="2345643"/>
              <a:ext cx="8008761" cy="3248585"/>
              <a:chOff x="2479900" y="2248658"/>
              <a:chExt cx="8008761" cy="3248585"/>
            </a:xfrm>
          </p:grpSpPr>
          <p:sp>
            <p:nvSpPr>
              <p:cNvPr id="177" name="矩形 16"/>
              <p:cNvSpPr/>
              <p:nvPr/>
            </p:nvSpPr>
            <p:spPr>
              <a:xfrm rot="20104384">
                <a:off x="2479900" y="4596743"/>
                <a:ext cx="7590922" cy="900500"/>
              </a:xfrm>
              <a:custGeom>
                <a:rect l="l" t="t" r="r" b="b"/>
                <a:pathLst>
                  <a:path w="7541525" h="1004269">
                    <a:moveTo>
                      <a:pt x="6686729" y="0"/>
                    </a:moveTo>
                    <a:lnTo>
                      <a:pt x="6713294" y="17895"/>
                    </a:lnTo>
                    <a:lnTo>
                      <a:pt x="7541525" y="1004269"/>
                    </a:lnTo>
                    <a:lnTo>
                      <a:pt x="2151952" y="1002054"/>
                    </a:lnTo>
                    <a:lnTo>
                      <a:pt x="0" y="1921"/>
                    </a:lnTo>
                    <a:close/>
                  </a:path>
                </a:pathLst>
              </a:custGeom>
              <a:solidFill>
                <a:srgbClr val="ADE03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78" name="立方体 177"/>
              <p:cNvSpPr/>
              <p:nvPr/>
            </p:nvSpPr>
            <p:spPr>
              <a:xfrm>
                <a:off x="8438369" y="2248658"/>
                <a:ext cx="2050292" cy="1722106"/>
              </a:xfrm>
              <a:prstGeom prst="cube">
                <a:avLst>
                  <a:gd name="adj" fmla="val 24472"/>
                </a:avLst>
              </a:prstGeom>
              <a:gradFill flip="none" rotWithShape="1">
                <a:gsLst>
                  <a:gs pos="50000">
                    <a:srgbClr val="71B929"/>
                  </a:gs>
                  <a:gs pos="0">
                    <a:srgbClr val="A7DC38"/>
                  </a:gs>
                  <a:gs pos="100000">
                    <a:srgbClr val="ADE03A"/>
                  </a:gs>
                </a:gsLst>
                <a:lin ang="16200000" scaled="1"/>
              </a:gradFill>
              <a:ln w="25400" cap="flat" cmpd="sng" algn="ctr">
                <a:solidFill>
                  <a:srgbClr val="C2E86E"/>
                </a:solidFill>
                <a:prstDash val="solid"/>
              </a:ln>
              <a:effectLst/>
              <a:scene3d>
                <a:camera prst="isometricLeftDown">
                  <a:rot lat="1800000" lon="2700002" rev="0"/>
                </a:camera>
                <a:lightRig rig="threePt" dir="t"/>
              </a:scene3d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79" name="矩形 2"/>
              <p:cNvSpPr/>
              <p:nvPr/>
            </p:nvSpPr>
            <p:spPr>
              <a:xfrm>
                <a:off x="8693122" y="2406246"/>
                <a:ext cx="1505255" cy="703464"/>
              </a:xfrm>
              <a:custGeom>
                <a:gdLst>
                  <a:gd name="connsiteX0" fmla="*/ 0 w 1850304"/>
                  <a:gd name="connsiteY0" fmla="*/ 0 h 970682"/>
                  <a:gd name="connsiteX1" fmla="*/ 1850304 w 1850304"/>
                  <a:gd name="connsiteY1" fmla="*/ 400833 h 970682"/>
                  <a:gd name="connsiteX2" fmla="*/ 1424419 w 1850304"/>
                  <a:gd name="connsiteY2" fmla="*/ 945630 h 970682"/>
                  <a:gd name="connsiteX3" fmla="*/ 50104 w 1850304"/>
                  <a:gd name="connsiteY3" fmla="*/ 970682 h 970682"/>
                  <a:gd name="connsiteX4" fmla="*/ 0 w 1850304"/>
                  <a:gd name="connsiteY4" fmla="*/ 0 h 970682"/>
                </a:gdLst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0304" h="970682">
                    <a:moveTo>
                      <a:pt x="0" y="0"/>
                    </a:moveTo>
                    <a:lnTo>
                      <a:pt x="1850304" y="400833"/>
                    </a:lnTo>
                    <a:lnTo>
                      <a:pt x="1424419" y="945630"/>
                    </a:lnTo>
                    <a:lnTo>
                      <a:pt x="50104" y="9706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18824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宋体" charset="-122"/>
                  <a:cs typeface="+mn-cs"/>
                </a:endParaRPr>
              </a:p>
            </p:txBody>
          </p:sp>
          <p:sp>
            <p:nvSpPr>
              <p:cNvPr id="180" name="TextBox 58"/>
              <p:cNvSpPr txBox="1"/>
              <p:nvPr/>
            </p:nvSpPr>
            <p:spPr>
              <a:xfrm>
                <a:off x="8831820" y="2830811"/>
                <a:ext cx="874528" cy="12631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isometricLeftDown"/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96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宋体" charset="-122"/>
                    <a:cs typeface="Arial" pitchFamily="34" charset="0"/>
                  </a:rPr>
                  <a:t>E</a:t>
                </a:r>
                <a:endParaRPr kumimoji="0" lang="zh-CN" altLang="en-US" sz="96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宋体" charset="-122"/>
                  <a:cs typeface="Arial" pitchFamily="34" charset="0"/>
                </a:endParaRPr>
              </a:p>
            </p:txBody>
          </p:sp>
        </p:grpSp>
        <p:sp>
          <p:nvSpPr>
            <p:cNvPr id="176" name="矩形 175"/>
            <p:cNvSpPr/>
            <p:nvPr/>
          </p:nvSpPr>
          <p:spPr>
            <a:xfrm rot="20085071">
              <a:off x="5825558" y="4581246"/>
              <a:ext cx="1301781" cy="7627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zh-CN" altLang="en-US" sz="4400" b="1" smtClean="0">
                  <a:ln w="13462">
                    <a:solidFill>
                      <a:srgbClr val="00B0F0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方正综艺简体" panose="03000509000000000000" pitchFamily="65" charset="-122"/>
                  <a:ea typeface="宋体" charset="-122"/>
                </a:rPr>
                <a:t>广告</a:t>
              </a:r>
              <a:endParaRPr lang="zh-CN" altLang="en-US" sz="4400" b="1">
                <a:ln w="13462">
                  <a:solidFill>
                    <a:srgbClr val="00B0F0"/>
                  </a:solidFill>
                  <a:prstDash val="solid"/>
                </a:ln>
                <a:solidFill>
                  <a:schemeClr val="bg1"/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方正综艺简体" panose="03000509000000000000" pitchFamily="65" charset="-122"/>
                <a:ea typeface="宋体" charset="-122"/>
              </a:endParaRPr>
            </a:p>
          </p:txBody>
        </p:sp>
      </p:grpSp>
      <p:sp>
        <p:nvSpPr>
          <p:cNvPr id="181" name="虚尾箭头 180"/>
          <p:cNvSpPr/>
          <p:nvPr/>
        </p:nvSpPr>
        <p:spPr>
          <a:xfrm rot="1461055">
            <a:off x="5659814" y="535624"/>
            <a:ext cx="3757913" cy="745113"/>
          </a:xfrm>
          <a:prstGeom prst="stripedRightArrow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  <a:alpha val="15000"/>
                </a:srgbClr>
              </a:gs>
            </a:gsLst>
            <a:lin ang="12600000" scaled="0"/>
          </a:gra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182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26" name="灯片编号占位符 1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8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2991227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3" fill="hold" nodeType="withEffect"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fill="hold" nodeType="withEffect"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3" fill="hold" nodeType="afterEffect"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3" fill="hold" nodeType="withEffect"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withGroup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" presetClass="entr" presetSubtype="3" fill="hold" nodeType="afterEffect"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fill="hold" grpId="0" nodeType="withEffect"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0" y="0"/>
            <a:ext cx="1705970" cy="169333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61935" y="770981"/>
            <a:ext cx="1144461" cy="7322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2800" b="1" smtClean="0">
                <a:solidFill>
                  <a:srgbClr val="FFFFFF"/>
                </a:solidFill>
                <a:latin typeface="微软雅黑" pitchFamily="34" charset="-122"/>
                <a:ea typeface="宋体" charset="-122"/>
              </a:rPr>
              <a:t>Forth</a:t>
            </a:r>
            <a:endParaRPr lang="zh-CN" altLang="en-US" sz="2800" b="1">
              <a:solidFill>
                <a:srgbClr val="FFFFFF"/>
              </a:solidFill>
              <a:latin typeface="微软雅黑" pitchFamily="34" charset="-122"/>
              <a:ea typeface="宋体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404435" y="1399822"/>
            <a:ext cx="108373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203200" y="1693333"/>
            <a:ext cx="1546578" cy="5034845"/>
          </a:xfrm>
          <a:prstGeom prst="rect">
            <a:avLst/>
          </a:prstGeom>
          <a:solidFill>
            <a:srgbClr val="506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235971" y="1811007"/>
            <a:ext cx="77329" cy="4871104"/>
            <a:chOff x="235971" y="1944596"/>
            <a:chExt cx="77329" cy="4871104"/>
          </a:xfrm>
        </p:grpSpPr>
        <p:sp>
          <p:nvSpPr>
            <p:cNvPr id="13" name="圆角矩形 12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3" name="圆角矩形 4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4" name="圆角矩形 4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7" name="圆角矩形 4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29269" y="1811007"/>
            <a:ext cx="77329" cy="4871104"/>
            <a:chOff x="235971" y="1944596"/>
            <a:chExt cx="77329" cy="4871104"/>
          </a:xfrm>
        </p:grpSpPr>
        <p:sp>
          <p:nvSpPr>
            <p:cNvPr id="56" name="圆角矩形 55"/>
            <p:cNvSpPr/>
            <p:nvPr/>
          </p:nvSpPr>
          <p:spPr>
            <a:xfrm>
              <a:off x="235971" y="1944596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241300" y="2120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241300" y="2298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59" name="圆角矩形 58"/>
            <p:cNvSpPr/>
            <p:nvPr/>
          </p:nvSpPr>
          <p:spPr>
            <a:xfrm>
              <a:off x="241300" y="2476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0" name="圆角矩形 59"/>
            <p:cNvSpPr/>
            <p:nvPr/>
          </p:nvSpPr>
          <p:spPr>
            <a:xfrm>
              <a:off x="241300" y="2654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1" name="圆角矩形 60"/>
            <p:cNvSpPr/>
            <p:nvPr/>
          </p:nvSpPr>
          <p:spPr>
            <a:xfrm>
              <a:off x="241300" y="2832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241300" y="3009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3" name="圆角矩形 62"/>
            <p:cNvSpPr/>
            <p:nvPr/>
          </p:nvSpPr>
          <p:spPr>
            <a:xfrm>
              <a:off x="241300" y="3187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41300" y="3365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241300" y="3543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6" name="圆角矩形 65"/>
            <p:cNvSpPr/>
            <p:nvPr/>
          </p:nvSpPr>
          <p:spPr>
            <a:xfrm>
              <a:off x="241300" y="3721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241300" y="3898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41300" y="4076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241300" y="4254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241300" y="4432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241300" y="4610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241300" y="4787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3" name="圆角矩形 72"/>
            <p:cNvSpPr/>
            <p:nvPr/>
          </p:nvSpPr>
          <p:spPr>
            <a:xfrm>
              <a:off x="241300" y="4965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241300" y="5143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241300" y="5321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241300" y="5499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241300" y="5676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241300" y="5854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241300" y="60325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241300" y="62103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1" name="圆角矩形 80"/>
            <p:cNvSpPr/>
            <p:nvPr/>
          </p:nvSpPr>
          <p:spPr>
            <a:xfrm>
              <a:off x="241300" y="63881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241300" y="65659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241300" y="6743700"/>
              <a:ext cx="72000" cy="72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416202" y="1859509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416202" y="2665210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ea typeface="宋体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16202" y="3470911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16202" y="4276612"/>
            <a:ext cx="1151317" cy="661202"/>
          </a:xfrm>
          <a:prstGeom prst="rect">
            <a:avLst/>
          </a:prstGeom>
          <a:solidFill>
            <a:srgbClr val="469DF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6202" y="5082313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16202" y="5888014"/>
            <a:ext cx="1151317" cy="6612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宋体" charset="-122"/>
            </a:endParaRPr>
          </a:p>
        </p:txBody>
      </p:sp>
      <p:grpSp>
        <p:nvGrpSpPr>
          <p:cNvPr id="101" name="组合 100"/>
          <p:cNvGrpSpPr/>
          <p:nvPr/>
        </p:nvGrpSpPr>
        <p:grpSpPr>
          <a:xfrm>
            <a:off x="6840959" y="-75877"/>
            <a:ext cx="5455316" cy="1104860"/>
            <a:chOff x="6840959" y="-75877"/>
            <a:chExt cx="5455316" cy="1104860"/>
          </a:xfrm>
        </p:grpSpPr>
        <p:pic>
          <p:nvPicPr>
            <p:cNvPr id="186" name="图片 18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86" b="82456"/>
            <a:stretch>
              <a:fillRect/>
            </a:stretch>
          </p:blipFill>
          <p:spPr>
            <a:xfrm>
              <a:off x="6840959" y="-75877"/>
              <a:ext cx="5455316" cy="1104860"/>
            </a:xfrm>
            <a:prstGeom prst="rect">
              <a:avLst/>
            </a:prstGeom>
          </p:spPr>
        </p:pic>
        <p:sp>
          <p:nvSpPr>
            <p:cNvPr id="100" name="矩形 99"/>
            <p:cNvSpPr/>
            <p:nvPr/>
          </p:nvSpPr>
          <p:spPr>
            <a:xfrm>
              <a:off x="7941860" y="317400"/>
              <a:ext cx="2242520" cy="366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b="1" smtClean="0">
                  <a:latin typeface="微软雅黑" pitchFamily="34" charset="-122"/>
                  <a:ea typeface="宋体" charset="-122"/>
                </a:rPr>
                <a:t>生产研发及技术条件</a:t>
              </a:r>
              <a:endParaRPr lang="zh-CN" altLang="en-US" b="1"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17" name="文本框 90"/>
          <p:cNvSpPr txBox="1"/>
          <p:nvPr/>
        </p:nvSpPr>
        <p:spPr>
          <a:xfrm>
            <a:off x="312674" y="2026611"/>
            <a:ext cx="1255472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smtClean="0">
                <a:latin typeface="微软雅黑" pitchFamily="34" charset="-122"/>
                <a:ea typeface="宋体" charset="-122"/>
              </a:rPr>
              <a:t>创意及商机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18" name="文本框 91"/>
          <p:cNvSpPr txBox="1"/>
          <p:nvPr/>
        </p:nvSpPr>
        <p:spPr>
          <a:xfrm>
            <a:off x="451760" y="2859523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环境分析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19" name="文本框 92"/>
          <p:cNvSpPr txBox="1"/>
          <p:nvPr/>
        </p:nvSpPr>
        <p:spPr>
          <a:xfrm>
            <a:off x="416202" y="3613436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latin typeface="微软雅黑" pitchFamily="34" charset="-122"/>
                <a:ea typeface="宋体" charset="-122"/>
              </a:rPr>
              <a:t>战略及营销</a:t>
            </a:r>
            <a:endParaRPr lang="zh-CN" altLang="en-US" sz="1400">
              <a:latin typeface="微软雅黑" pitchFamily="34" charset="-122"/>
              <a:ea typeface="宋体" charset="-122"/>
            </a:endParaRPr>
          </a:p>
        </p:txBody>
      </p:sp>
      <p:sp>
        <p:nvSpPr>
          <p:cNvPr id="123" name="文本框 93"/>
          <p:cNvSpPr txBox="1"/>
          <p:nvPr/>
        </p:nvSpPr>
        <p:spPr>
          <a:xfrm>
            <a:off x="416202" y="4428225"/>
            <a:ext cx="1182523" cy="30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smtClean="0">
                <a:solidFill>
                  <a:schemeClr val="bg1"/>
                </a:solidFill>
                <a:latin typeface="微软雅黑" pitchFamily="34" charset="-122"/>
                <a:ea typeface="宋体" charset="-122"/>
              </a:rPr>
              <a:t>生产及经营</a:t>
            </a:r>
            <a:endParaRPr lang="zh-CN" altLang="en-US" sz="1400">
              <a:solidFill>
                <a:schemeClr val="bg1"/>
              </a:solidFill>
              <a:latin typeface="微软雅黑" pitchFamily="34" charset="-122"/>
              <a:ea typeface="宋体" charset="-122"/>
            </a:endParaRPr>
          </a:p>
        </p:txBody>
      </p:sp>
      <p:sp>
        <p:nvSpPr>
          <p:cNvPr id="125" name="文本框 94"/>
          <p:cNvSpPr txBox="1"/>
          <p:nvPr/>
        </p:nvSpPr>
        <p:spPr>
          <a:xfrm>
            <a:off x="451760" y="5204757"/>
            <a:ext cx="1037444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财务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sp>
        <p:nvSpPr>
          <p:cNvPr id="126" name="文本框 95"/>
          <p:cNvSpPr txBox="1"/>
          <p:nvPr/>
        </p:nvSpPr>
        <p:spPr>
          <a:xfrm>
            <a:off x="457411" y="6049338"/>
            <a:ext cx="1031788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>
                <a:latin typeface="微软雅黑" pitchFamily="34" charset="-122"/>
                <a:ea typeface="宋体" charset="-122"/>
              </a:rPr>
              <a:t>风险管理</a:t>
            </a:r>
            <a:endParaRPr lang="zh-CN" altLang="en-US" sz="1600">
              <a:latin typeface="微软雅黑" pitchFamily="34" charset="-122"/>
              <a:ea typeface="宋体" charset="-122"/>
            </a:endParaRPr>
          </a:p>
        </p:txBody>
      </p:sp>
      <p:pic>
        <p:nvPicPr>
          <p:cNvPr id="130" name="图片 1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080" y="1460341"/>
            <a:ext cx="4012884" cy="3744416"/>
          </a:xfrm>
          <a:prstGeom prst="rect">
            <a:avLst/>
          </a:prstGeom>
        </p:spPr>
      </p:pic>
      <p:pic>
        <p:nvPicPr>
          <p:cNvPr id="131" name="图片 13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28100" y="1431703"/>
            <a:ext cx="4012884" cy="3744416"/>
          </a:xfrm>
          <a:prstGeom prst="rect">
            <a:avLst/>
          </a:prstGeom>
        </p:spPr>
      </p:pic>
      <p:grpSp>
        <p:nvGrpSpPr>
          <p:cNvPr id="138" name="组合 137"/>
          <p:cNvGrpSpPr/>
          <p:nvPr/>
        </p:nvGrpSpPr>
        <p:grpSpPr>
          <a:xfrm>
            <a:off x="1679463" y="436214"/>
            <a:ext cx="3848050" cy="1173139"/>
            <a:chOff x="2891924" y="507273"/>
            <a:chExt cx="3848050" cy="1173139"/>
          </a:xfrm>
        </p:grpSpPr>
        <p:pic>
          <p:nvPicPr>
            <p:cNvPr id="139" name="图片 13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891924" y="507273"/>
              <a:ext cx="3848050" cy="1173139"/>
            </a:xfrm>
            <a:prstGeom prst="rect">
              <a:avLst/>
            </a:prstGeom>
          </p:spPr>
        </p:pic>
        <p:sp>
          <p:nvSpPr>
            <p:cNvPr id="140" name="矩形 139"/>
            <p:cNvSpPr/>
            <p:nvPr/>
          </p:nvSpPr>
          <p:spPr>
            <a:xfrm>
              <a:off x="3524405" y="768239"/>
              <a:ext cx="2318796" cy="5186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【</a:t>
              </a:r>
              <a:r>
                <a:rPr lang="zh-CN" altLang="en-US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生产运作</a:t>
              </a:r>
              <a:r>
                <a:rPr lang="en-US" altLang="zh-CN" sz="2800" b="1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itchFamily="34" charset="-122"/>
                  <a:ea typeface="宋体" charset="-122"/>
                </a:rPr>
                <a:t>】</a:t>
              </a:r>
              <a:endParaRPr lang="en-US" altLang="zh-CN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-122"/>
              </a:endParaRPr>
            </a:p>
          </p:txBody>
        </p:sp>
      </p:grpSp>
      <p:sp>
        <p:nvSpPr>
          <p:cNvPr id="141" name="矩形 140"/>
          <p:cNvSpPr/>
          <p:nvPr/>
        </p:nvSpPr>
        <p:spPr>
          <a:xfrm>
            <a:off x="3751152" y="2059311"/>
            <a:ext cx="2619134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雨伞布</a:t>
            </a: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材料繁多</a:t>
            </a:r>
            <a:endParaRPr lang="zh-CN" altLang="en-US" sz="2400" b="1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微软雅黑" pitchFamily="34" charset="-122"/>
              <a:ea typeface="宋体" charset="-122"/>
            </a:endParaRPr>
          </a:p>
        </p:txBody>
      </p:sp>
      <p:sp>
        <p:nvSpPr>
          <p:cNvPr id="142" name="矩形 141"/>
          <p:cNvSpPr/>
          <p:nvPr/>
        </p:nvSpPr>
        <p:spPr>
          <a:xfrm>
            <a:off x="3689286" y="2872068"/>
            <a:ext cx="2924239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伞架材料推陈出新</a:t>
            </a:r>
            <a:endParaRPr lang="zh-CN" altLang="en-US" sz="2400" b="1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微软雅黑" pitchFamily="34" charset="-122"/>
              <a:ea typeface="宋体" charset="-122"/>
            </a:endParaRPr>
          </a:p>
        </p:txBody>
      </p:sp>
      <p:sp>
        <p:nvSpPr>
          <p:cNvPr id="143" name="矩形 142"/>
          <p:cNvSpPr/>
          <p:nvPr/>
        </p:nvSpPr>
        <p:spPr>
          <a:xfrm>
            <a:off x="7374328" y="1756478"/>
            <a:ext cx="2619134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太阳能电池发电</a:t>
            </a:r>
          </a:p>
        </p:txBody>
      </p:sp>
      <p:sp>
        <p:nvSpPr>
          <p:cNvPr id="144" name="矩形 143"/>
          <p:cNvSpPr/>
          <p:nvPr/>
        </p:nvSpPr>
        <p:spPr>
          <a:xfrm>
            <a:off x="7374328" y="2237111"/>
            <a:ext cx="2619134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内置小型风扇转</a:t>
            </a:r>
          </a:p>
        </p:txBody>
      </p:sp>
      <p:sp>
        <p:nvSpPr>
          <p:cNvPr id="145" name="矩形 144"/>
          <p:cNvSpPr/>
          <p:nvPr/>
        </p:nvSpPr>
        <p:spPr>
          <a:xfrm>
            <a:off x="7374328" y="2681478"/>
            <a:ext cx="2619134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伞柄配置遥控器</a:t>
            </a:r>
          </a:p>
        </p:txBody>
      </p:sp>
      <p:sp>
        <p:nvSpPr>
          <p:cNvPr id="146" name="矩形 145"/>
          <p:cNvSpPr/>
          <p:nvPr/>
        </p:nvSpPr>
        <p:spPr>
          <a:xfrm>
            <a:off x="7413507" y="3250878"/>
            <a:ext cx="2619134" cy="457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itchFamily="2" charset="2"/>
              <a:buChar char="u"/>
            </a:pP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进口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涤纶</a:t>
            </a:r>
            <a:r>
              <a:rPr lang="zh-CN" altLang="en-US" sz="2400" b="1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布伞</a:t>
            </a:r>
            <a:r>
              <a:rPr lang="zh-CN" altLang="en-US" sz="2400" b="1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微软雅黑" pitchFamily="34" charset="-122"/>
                <a:ea typeface="宋体" charset="-122"/>
              </a:rPr>
              <a:t>布</a:t>
            </a:r>
          </a:p>
        </p:txBody>
      </p:sp>
      <p:grpSp>
        <p:nvGrpSpPr>
          <p:cNvPr id="92" name="组合 91"/>
          <p:cNvGrpSpPr/>
          <p:nvPr/>
        </p:nvGrpSpPr>
        <p:grpSpPr>
          <a:xfrm>
            <a:off x="3981553" y="5362501"/>
            <a:ext cx="2411669" cy="750210"/>
            <a:chOff x="9556235" y="2519454"/>
            <a:chExt cx="2411641" cy="751007"/>
          </a:xfrm>
        </p:grpSpPr>
        <p:sp>
          <p:nvSpPr>
            <p:cNvPr id="93" name="AutoShap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/>
                </a:tabLst>
                <a:defRPr/>
              </a:pPr>
              <a:endParaRPr lang="zh-CN" altLang="en-US" sz="1400">
                <a:solidFill>
                  <a:prstClr val="black"/>
                </a:solidFill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94" name="Text Box 18"/>
            <p:cNvSpPr txBox="1">
              <a:spLocks noChangeArrowheads="1"/>
            </p:cNvSpPr>
            <p:nvPr/>
          </p:nvSpPr>
          <p:spPr bwMode="gray">
            <a:xfrm>
              <a:off x="9649057" y="2587728"/>
              <a:ext cx="2319978" cy="549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>
                  <a:solidFill>
                    <a:srgbClr val="44546A"/>
                  </a:solidFill>
                  <a:latin typeface="微软雅黑" pitchFamily="34" charset="-122"/>
                  <a:ea typeface="宋体" charset="-122"/>
                </a:rPr>
                <a:t>制造材料应用</a:t>
              </a:r>
            </a:p>
          </p:txBody>
        </p:sp>
      </p:grpSp>
      <p:grpSp>
        <p:nvGrpSpPr>
          <p:cNvPr id="95" name="组合 94"/>
          <p:cNvGrpSpPr/>
          <p:nvPr/>
        </p:nvGrpSpPr>
        <p:grpSpPr>
          <a:xfrm>
            <a:off x="7302667" y="5343252"/>
            <a:ext cx="2411669" cy="750210"/>
            <a:chOff x="9556235" y="2519454"/>
            <a:chExt cx="2411641" cy="751007"/>
          </a:xfrm>
        </p:grpSpPr>
        <p:sp>
          <p:nvSpPr>
            <p:cNvPr id="96" name="AutoShape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white">
            <a:xfrm>
              <a:off x="9556235" y="2519454"/>
              <a:ext cx="2340000" cy="751007"/>
            </a:xfrm>
            <a:prstGeom prst="roundRect">
              <a:avLst>
                <a:gd name="adj" fmla="val 530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00B0F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/>
                </a:tabLst>
                <a:defRPr/>
              </a:pPr>
              <a:endParaRPr lang="zh-CN" altLang="en-US" sz="1400">
                <a:solidFill>
                  <a:prstClr val="black"/>
                </a:solidFill>
                <a:latin typeface="微软雅黑" pitchFamily="34" charset="-122"/>
                <a:ea typeface="宋体" charset="-122"/>
              </a:endParaRPr>
            </a:p>
          </p:txBody>
        </p:sp>
        <p:sp>
          <p:nvSpPr>
            <p:cNvPr id="97" name="Text Box 18"/>
            <p:cNvSpPr txBox="1">
              <a:spLocks noChangeArrowheads="1"/>
            </p:cNvSpPr>
            <p:nvPr/>
          </p:nvSpPr>
          <p:spPr bwMode="gray">
            <a:xfrm>
              <a:off x="9649058" y="2587728"/>
              <a:ext cx="2319978" cy="549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50000"/>
                </a:spcBef>
              </a:pPr>
              <a:r>
                <a:rPr lang="zh-CN" altLang="en-US" sz="2000" b="1">
                  <a:solidFill>
                    <a:srgbClr val="44546A"/>
                  </a:solidFill>
                  <a:latin typeface="微软雅黑" pitchFamily="34" charset="-122"/>
                  <a:ea typeface="宋体" charset="-122"/>
                </a:rPr>
                <a:t>产品设计开发技术</a:t>
              </a:r>
            </a:p>
          </p:txBody>
        </p:sp>
      </p:grpSp>
      <p:sp>
        <p:nvSpPr>
          <p:cNvPr id="98" name="灯片编号占位符 9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A86238-FACE-4E7F-971F-8677A7B686E9}" type="slidenum">
              <a:rPr lang="zh-CN" altLang="en-US" smtClean="0">
                <a:ea typeface="宋体" charset="-122"/>
              </a:rPr>
              <a:t>9</a:t>
            </a:fld>
            <a:endParaRPr lang="zh-CN" altLang="en-US">
              <a:ea typeface="宋体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ea typeface="宋体" charset="-122"/>
              </a:rPr>
              <a:t>ppt课件.</a:t>
            </a:r>
          </a:p>
        </p:txBody>
      </p:sp>
    </p:spTree>
    <p:extLst>
      <p:ext uri="{BB962C8B-B14F-4D97-AF65-F5344CB8AC3E}">
        <p14:creationId xmlns:p14="http://schemas.microsoft.com/office/powerpoint/2010/main" val="7305125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6" presetClass="emph" presetSubtype="0" fill="hold" nodeType="withEffect"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1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2" presetClass="entr" presetSubtype="8" fill="hold" nodeType="withEffect"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2" nodeType="withEffect"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3" nodeType="withEffect"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4" nodeType="withEffect"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5" nodeType="withEffect"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6" nodeType="withEffect"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0" fill="hold" nodeType="withEffect"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141" grpId="1"/>
      <p:bldP spid="142" grpId="2"/>
      <p:bldP spid="143" grpId="3"/>
      <p:bldP spid="144" grpId="4"/>
      <p:bldP spid="145" grpId="5"/>
      <p:bldP spid="146" grpId="6"/>
    </p:bldLst>
  </p:timing>
</p:sld>
</file>

<file path=ppt/tags/tag1.xml><?xml version="1.0" encoding="utf-8"?>
<p:tagLst xmlns:p="http://schemas.openxmlformats.org/presentationml/2006/main">
  <p:tag name="THINKCELLSHAPEDONOTDELETE" val="pKOZHO13yzUCaepRpRzBw5w"/>
</p:tagLst>
</file>

<file path=ppt/tags/tag2.xml><?xml version="1.0" encoding="utf-8"?>
<p:tagLst xmlns:p="http://schemas.openxmlformats.org/presentationml/2006/main">
  <p:tag name="THINKCELLSHAPEDONOTDELETE" val="pKOZHO13yzUCaepRpRzBw5w"/>
</p:tagLst>
</file>

<file path=ppt/tags/tag3.xml><?xml version="1.0" encoding="utf-8"?>
<p:tagLst xmlns:p="http://schemas.openxmlformats.org/presentationml/2006/main">
  <p:tag name="THINKCELLSHAPEDONOTDELETE" val="pKOZHO13yzUCaepRpRzBw5w"/>
</p:tagLst>
</file>

<file path=ppt/tags/tag4.xml><?xml version="1.0" encoding="utf-8"?>
<p:tagLst xmlns:p="http://schemas.openxmlformats.org/presentationml/2006/main">
  <p:tag name="THINKCELLSHAPEDONOTDELETE" val="pKOZHO13yzUCaepRpRzBw5w"/>
</p:tagLst>
</file>

<file path=ppt/tags/tag5.xml><?xml version="1.0" encoding="utf-8"?>
<p:tagLst xmlns:p="http://schemas.openxmlformats.org/presentationml/2006/main">
  <p:tag name="AS_NET" val="4.0.30319.42000"/>
  <p:tag name="AS_OS" val="Microsoft Windows NT 6.2.9200.0"/>
  <p:tag name="AS_RELEASE_DATE" val="2016.11.28"/>
  <p:tag name="AS_TITLE" val="Aspose.Slides for .NET 4.0"/>
  <p:tag name="AS_VERSION" val="16.11.0.0"/>
</p:tagLst>
</file>

<file path=ppt/theme/_rels/theme2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5.jpeg" /><Relationship Id="rId2" Type="http://schemas.openxmlformats.org/officeDocument/2006/relationships/image" Target="../media/image4.jpeg" /></Relationships>
</file>

<file path=ppt/theme/theme1.xml><?xml version="1.0" encoding="utf-8"?>
<a:theme xmlns:r="http://schemas.openxmlformats.org/officeDocument/2006/relationships"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r="http://schemas.openxmlformats.org/officeDocument/2006/relationships" xmlns:a="http://schemas.openxmlformats.org/drawingml/2006/main" name="环保">
  <a:themeElements>
    <a:clrScheme name="环保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83992A"/>
      </a:accent1>
      <a:accent2>
        <a:srgbClr val="3C9770"/>
      </a:accent2>
      <a:accent3>
        <a:srgbClr val="44709D"/>
      </a:accent3>
      <a:accent4>
        <a:srgbClr val="A23C33"/>
      </a:accent4>
      <a:accent5>
        <a:srgbClr val="D97828"/>
      </a:accent5>
      <a:accent6>
        <a:srgbClr val="DEB340"/>
      </a:accent6>
      <a:hlink>
        <a:srgbClr val="A8BF4D"/>
      </a:hlink>
      <a:folHlink>
        <a:srgbClr val="B4CA80"/>
      </a:folHlink>
    </a:clrScheme>
    <a:fontScheme name="环保">
      <a:majorFont>
        <a:latin typeface="Garamond"/>
        <a:ea typeface="Arial"/>
        <a:cs typeface="Arial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/>
        <a:ea typeface="Arial"/>
        <a:cs typeface="Arial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环保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 rotWithShape="1">
          <a:blip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r:embed="rId2"/>
          <a:stretch>
            <a:fillRect/>
          </a:stretch>
        </a:blip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212121"/>
        </a:dk2>
        <a:lt2>
          <a:srgbClr val="DADADA"/>
        </a:lt2>
        <a:accent1>
          <a:srgbClr val="83992A"/>
        </a:accent1>
        <a:accent2>
          <a:srgbClr val="3C9770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A8BF4D"/>
        </a:hlink>
        <a:folHlink>
          <a:srgbClr val="B4CA80"/>
        </a:folHlink>
      </a:clrScheme>
    </a:extraClrScheme>
  </a:extraClrSchemeLst>
  <a:extLst>
    <a:ext uri="{05A4C25C-085E-4340-85A3-A5531E510DB2}">
      <thm15:themeFamily xmlns:thm15="http://schemas.microsoft.com/office/thememl/2012/main" name="Organic" id="{28CDC826-8792-45C0-861B-85EB3ADEDA33}" vid="{7DAC20F1-423D-49E2-BD0B-50532748BAD0}"/>
    </a:ext>
  </a:extLst>
</a:theme>
</file>

<file path=ppt/theme/theme3.xml><?xml version="1.0" encoding="utf-8"?>
<a:theme xmlns:r="http://schemas.openxmlformats.org/officeDocument/2006/relationships"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docProps/app.xml><?xml version="1.0" encoding="utf-8"?>
<Properties xmlns:vt="http://schemas.openxmlformats.org/officeDocument/2006/docPropsVTypes" xmlns="http://schemas.openxmlformats.org/officeDocument/2006/extended-properties">
  <Company>http://www.deepbbs.org</Company>
  <PresentationFormat>自定义</PresentationFormat>
  <Paragraphs>188</Paragraphs>
  <Slides>14</Slides>
  <Notes>0</Notes>
  <TotalTime>1240</TotalTime>
  <HiddenSlides>0</HiddenSlides>
  <MMClips>0</MMClips>
  <ScaleCrop>0</ScaleCrop>
  <HeadingPairs>
    <vt:vector baseType="variant" size="4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baseType="lpstr" size="15">
      <vt:lpstr>Office 主题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</vt:vector>
  </TitlesOfParts>
  <LinksUpToDate>0</LinksUpToDate>
  <SharedDoc>0</SharedDoc>
  <HyperlinksChanged>0</HyperlinksChanged>
  <Application>Aspose.Slides for .NET</Application>
  <AppVersion>16.11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dc:title>哎呀小小草</dc:title>
  <cp:category>https://800sucai.taobao.com</cp:category>
  <dc:creator>哎呀小小草</dc:creator>
  <dc:description>https://800sucai.taobao.com</dc:description>
  <cp:keywords>https://800sucai.taobao.com</cp:keywords>
  <cp:lastModifiedBy>JonMMx 2000</cp:lastModifiedBy>
  <cp:revision>155</cp:revision>
  <dcterms:created xsi:type="dcterms:W3CDTF">2013-11-30T05:59:16Z</dcterms:created>
  <dcterms:modified xsi:type="dcterms:W3CDTF">2020-08-03T16:45:59Z</dcterms:modified>
  <dc:subject>哎呀小小草</dc:subject>
</cp:coreProperties>
</file>